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5" r:id="rId5"/>
    <p:sldMasterId id="2147483773" r:id="rId6"/>
    <p:sldMasterId id="2147483802" r:id="rId7"/>
  </p:sldMasterIdLst>
  <p:notesMasterIdLst>
    <p:notesMasterId r:id="rId33"/>
  </p:notesMasterIdLst>
  <p:sldIdLst>
    <p:sldId id="2147229218" r:id="rId8"/>
    <p:sldId id="2147229443" r:id="rId9"/>
    <p:sldId id="2147229410" r:id="rId10"/>
    <p:sldId id="2147229382" r:id="rId11"/>
    <p:sldId id="2147229463" r:id="rId12"/>
    <p:sldId id="2147229396" r:id="rId13"/>
    <p:sldId id="2147229464" r:id="rId14"/>
    <p:sldId id="2147229446" r:id="rId15"/>
    <p:sldId id="2147229447" r:id="rId16"/>
    <p:sldId id="2147229466" r:id="rId17"/>
    <p:sldId id="2147229448" r:id="rId18"/>
    <p:sldId id="2147229465" r:id="rId19"/>
    <p:sldId id="2147229450" r:id="rId20"/>
    <p:sldId id="2147229468" r:id="rId21"/>
    <p:sldId id="2147229457" r:id="rId22"/>
    <p:sldId id="2147229462" r:id="rId23"/>
    <p:sldId id="2147229469" r:id="rId24"/>
    <p:sldId id="2147229461" r:id="rId25"/>
    <p:sldId id="2147229470" r:id="rId26"/>
    <p:sldId id="2147229459" r:id="rId27"/>
    <p:sldId id="2147229471" r:id="rId28"/>
    <p:sldId id="2147229460" r:id="rId29"/>
    <p:sldId id="2147229472" r:id="rId30"/>
    <p:sldId id="2147229474" r:id="rId31"/>
    <p:sldId id="2147229473" r:id="rId3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4D"/>
    <a:srgbClr val="E61853"/>
    <a:srgbClr val="004575"/>
    <a:srgbClr val="385D8A"/>
    <a:srgbClr val="9C1038"/>
    <a:srgbClr val="192A3F"/>
    <a:srgbClr val="243C5A"/>
    <a:srgbClr val="D3E50A"/>
    <a:srgbClr val="EBFF00"/>
    <a:srgbClr val="66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58"/>
    <p:restoredTop sz="94785"/>
  </p:normalViewPr>
  <p:slideViewPr>
    <p:cSldViewPr snapToGrid="0">
      <p:cViewPr varScale="1">
        <p:scale>
          <a:sx n="61" d="100"/>
          <a:sy n="61" d="100"/>
        </p:scale>
        <p:origin x="18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E, Juncen" userId="353a92c6-7708-4525-a65c-cc515e0d7e4f" providerId="ADAL" clId="{B9B67641-F416-4467-B9C1-16637DC30A2D}"/>
    <pc:docChg chg="modSld">
      <pc:chgData name="YE, Juncen" userId="353a92c6-7708-4525-a65c-cc515e0d7e4f" providerId="ADAL" clId="{B9B67641-F416-4467-B9C1-16637DC30A2D}" dt="2023-09-19T12:35:52.030" v="2" actId="1076"/>
      <pc:docMkLst>
        <pc:docMk/>
      </pc:docMkLst>
      <pc:sldChg chg="modSp mod">
        <pc:chgData name="YE, Juncen" userId="353a92c6-7708-4525-a65c-cc515e0d7e4f" providerId="ADAL" clId="{B9B67641-F416-4467-B9C1-16637DC30A2D}" dt="2023-09-19T07:51:49.223" v="0" actId="1076"/>
        <pc:sldMkLst>
          <pc:docMk/>
          <pc:sldMk cId="3045153165" sldId="2147229450"/>
        </pc:sldMkLst>
        <pc:spChg chg="mod">
          <ac:chgData name="YE, Juncen" userId="353a92c6-7708-4525-a65c-cc515e0d7e4f" providerId="ADAL" clId="{B9B67641-F416-4467-B9C1-16637DC30A2D}" dt="2023-09-19T07:51:49.223" v="0" actId="1076"/>
          <ac:spMkLst>
            <pc:docMk/>
            <pc:sldMk cId="3045153165" sldId="2147229450"/>
            <ac:spMk id="17" creationId="{E3121B42-93B3-497B-A9AC-6B31F79ACB93}"/>
          </ac:spMkLst>
        </pc:spChg>
      </pc:sldChg>
      <pc:sldChg chg="modSp mod">
        <pc:chgData name="YE, Juncen" userId="353a92c6-7708-4525-a65c-cc515e0d7e4f" providerId="ADAL" clId="{B9B67641-F416-4467-B9C1-16637DC30A2D}" dt="2023-09-19T12:35:52.030" v="2" actId="1076"/>
        <pc:sldMkLst>
          <pc:docMk/>
          <pc:sldMk cId="1634668830" sldId="2147229470"/>
        </pc:sldMkLst>
        <pc:picChg chg="mod">
          <ac:chgData name="YE, Juncen" userId="353a92c6-7708-4525-a65c-cc515e0d7e4f" providerId="ADAL" clId="{B9B67641-F416-4467-B9C1-16637DC30A2D}" dt="2023-09-19T12:35:52.030" v="2" actId="1076"/>
          <ac:picMkLst>
            <pc:docMk/>
            <pc:sldMk cId="1634668830" sldId="2147229470"/>
            <ac:picMk id="2" creationId="{9644BA3F-6BA8-4ED7-938D-CAAD81AFB75E}"/>
          </ac:picMkLst>
        </pc:picChg>
      </pc:sldChg>
    </pc:docChg>
  </pc:docChgLst>
  <pc:docChgLst>
    <pc:chgData name="LAISSAOUI, Ghita" userId="S::ghita.laissaoui@capgemini.com::ac8a0427-4948-4bf4-bb5c-4b9a41a9bd01" providerId="AD" clId="Web-{2CF1BA31-7774-4B67-9F2E-9338F62AE146}"/>
    <pc:docChg chg="modSld">
      <pc:chgData name="LAISSAOUI, Ghita" userId="S::ghita.laissaoui@capgemini.com::ac8a0427-4948-4bf4-bb5c-4b9a41a9bd01" providerId="AD" clId="Web-{2CF1BA31-7774-4B67-9F2E-9338F62AE146}" dt="2022-01-26T15:29:53.765" v="166" actId="20577"/>
      <pc:docMkLst>
        <pc:docMk/>
      </pc:docMkLst>
      <pc:sldChg chg="modSp">
        <pc:chgData name="LAISSAOUI, Ghita" userId="S::ghita.laissaoui@capgemini.com::ac8a0427-4948-4bf4-bb5c-4b9a41a9bd01" providerId="AD" clId="Web-{2CF1BA31-7774-4B67-9F2E-9338F62AE146}" dt="2022-01-26T15:25:29.290" v="25" actId="20577"/>
        <pc:sldMkLst>
          <pc:docMk/>
          <pc:sldMk cId="3024905232" sldId="2145706261"/>
        </pc:sldMkLst>
        <pc:spChg chg="mod">
          <ac:chgData name="LAISSAOUI, Ghita" userId="S::ghita.laissaoui@capgemini.com::ac8a0427-4948-4bf4-bb5c-4b9a41a9bd01" providerId="AD" clId="Web-{2CF1BA31-7774-4B67-9F2E-9338F62AE146}" dt="2022-01-26T15:25:29.290" v="25" actId="20577"/>
          <ac:spMkLst>
            <pc:docMk/>
            <pc:sldMk cId="3024905232" sldId="2145706261"/>
            <ac:spMk id="76" creationId="{D2F47129-E6E5-4D87-B2C2-D46271BA1694}"/>
          </ac:spMkLst>
        </pc:spChg>
      </pc:sldChg>
      <pc:sldChg chg="delSp modSp">
        <pc:chgData name="LAISSAOUI, Ghita" userId="S::ghita.laissaoui@capgemini.com::ac8a0427-4948-4bf4-bb5c-4b9a41a9bd01" providerId="AD" clId="Web-{2CF1BA31-7774-4B67-9F2E-9338F62AE146}" dt="2022-01-26T15:21:15.706" v="23" actId="20577"/>
        <pc:sldMkLst>
          <pc:docMk/>
          <pc:sldMk cId="585301086" sldId="2145706328"/>
        </pc:sldMkLst>
        <pc:spChg chg="del">
          <ac:chgData name="LAISSAOUI, Ghita" userId="S::ghita.laissaoui@capgemini.com::ac8a0427-4948-4bf4-bb5c-4b9a41a9bd01" providerId="AD" clId="Web-{2CF1BA31-7774-4B67-9F2E-9338F62AE146}" dt="2022-01-26T15:12:10.631" v="3"/>
          <ac:spMkLst>
            <pc:docMk/>
            <pc:sldMk cId="585301086" sldId="2145706328"/>
            <ac:spMk id="46" creationId="{DD0CAC4C-5C41-4C4C-8606-0F02EA591DAF}"/>
          </ac:spMkLst>
        </pc:spChg>
        <pc:spChg chg="del">
          <ac:chgData name="LAISSAOUI, Ghita" userId="S::ghita.laissaoui@capgemini.com::ac8a0427-4948-4bf4-bb5c-4b9a41a9bd01" providerId="AD" clId="Web-{2CF1BA31-7774-4B67-9F2E-9338F62AE146}" dt="2022-01-26T15:11:52.365" v="0"/>
          <ac:spMkLst>
            <pc:docMk/>
            <pc:sldMk cId="585301086" sldId="2145706328"/>
            <ac:spMk id="88" creationId="{8BE2495A-6169-4ADA-88F8-CAC9A4408FA5}"/>
          </ac:spMkLst>
        </pc:spChg>
        <pc:spChg chg="del">
          <ac:chgData name="LAISSAOUI, Ghita" userId="S::ghita.laissaoui@capgemini.com::ac8a0427-4948-4bf4-bb5c-4b9a41a9bd01" providerId="AD" clId="Web-{2CF1BA31-7774-4B67-9F2E-9338F62AE146}" dt="2022-01-26T15:11:54.787" v="1"/>
          <ac:spMkLst>
            <pc:docMk/>
            <pc:sldMk cId="585301086" sldId="2145706328"/>
            <ac:spMk id="89" creationId="{5337ECA1-3DEA-4ADA-9D02-DE7B9E14C7C9}"/>
          </ac:spMkLst>
        </pc:spChg>
        <pc:spChg chg="mod">
          <ac:chgData name="LAISSAOUI, Ghita" userId="S::ghita.laissaoui@capgemini.com::ac8a0427-4948-4bf4-bb5c-4b9a41a9bd01" providerId="AD" clId="Web-{2CF1BA31-7774-4B67-9F2E-9338F62AE146}" dt="2022-01-26T15:21:15.706" v="23" actId="20577"/>
          <ac:spMkLst>
            <pc:docMk/>
            <pc:sldMk cId="585301086" sldId="2145706328"/>
            <ac:spMk id="90" creationId="{0F6D77B5-B858-42A9-9599-55DD8843B3E4}"/>
          </ac:spMkLst>
        </pc:spChg>
        <pc:spChg chg="del">
          <ac:chgData name="LAISSAOUI, Ghita" userId="S::ghita.laissaoui@capgemini.com::ac8a0427-4948-4bf4-bb5c-4b9a41a9bd01" providerId="AD" clId="Web-{2CF1BA31-7774-4B67-9F2E-9338F62AE146}" dt="2022-01-26T15:12:07.365" v="2"/>
          <ac:spMkLst>
            <pc:docMk/>
            <pc:sldMk cId="585301086" sldId="2145706328"/>
            <ac:spMk id="91" creationId="{D47D6D75-8E3B-4E26-86F2-DDCC395986F4}"/>
          </ac:spMkLst>
        </pc:spChg>
      </pc:sldChg>
      <pc:sldChg chg="modSp">
        <pc:chgData name="LAISSAOUI, Ghita" userId="S::ghita.laissaoui@capgemini.com::ac8a0427-4948-4bf4-bb5c-4b9a41a9bd01" providerId="AD" clId="Web-{2CF1BA31-7774-4B67-9F2E-9338F62AE146}" dt="2022-01-26T15:29:53.765" v="166" actId="20577"/>
        <pc:sldMkLst>
          <pc:docMk/>
          <pc:sldMk cId="1388088336" sldId="2147229387"/>
        </pc:sldMkLst>
        <pc:spChg chg="mod">
          <ac:chgData name="LAISSAOUI, Ghita" userId="S::ghita.laissaoui@capgemini.com::ac8a0427-4948-4bf4-bb5c-4b9a41a9bd01" providerId="AD" clId="Web-{2CF1BA31-7774-4B67-9F2E-9338F62AE146}" dt="2022-01-26T15:29:53.765" v="166" actId="20577"/>
          <ac:spMkLst>
            <pc:docMk/>
            <pc:sldMk cId="1388088336" sldId="2147229387"/>
            <ac:spMk id="30" creationId="{99055BD7-FBA8-4391-9AE0-442982F35925}"/>
          </ac:spMkLst>
        </pc:spChg>
      </pc:sldChg>
      <pc:sldChg chg="modSp">
        <pc:chgData name="LAISSAOUI, Ghita" userId="S::ghita.laissaoui@capgemini.com::ac8a0427-4948-4bf4-bb5c-4b9a41a9bd01" providerId="AD" clId="Web-{2CF1BA31-7774-4B67-9F2E-9338F62AE146}" dt="2022-01-26T15:28:01.544" v="131" actId="20577"/>
        <pc:sldMkLst>
          <pc:docMk/>
          <pc:sldMk cId="2345305854" sldId="2147229389"/>
        </pc:sldMkLst>
        <pc:spChg chg="mod">
          <ac:chgData name="LAISSAOUI, Ghita" userId="S::ghita.laissaoui@capgemini.com::ac8a0427-4948-4bf4-bb5c-4b9a41a9bd01" providerId="AD" clId="Web-{2CF1BA31-7774-4B67-9F2E-9338F62AE146}" dt="2022-01-26T15:28:01.544" v="131" actId="20577"/>
          <ac:spMkLst>
            <pc:docMk/>
            <pc:sldMk cId="2345305854" sldId="2147229389"/>
            <ac:spMk id="10" creationId="{EE88C3D3-1825-4E9E-B761-E5560D5834D0}"/>
          </ac:spMkLst>
        </pc:spChg>
        <pc:spChg chg="mod">
          <ac:chgData name="LAISSAOUI, Ghita" userId="S::ghita.laissaoui@capgemini.com::ac8a0427-4948-4bf4-bb5c-4b9a41a9bd01" providerId="AD" clId="Web-{2CF1BA31-7774-4B67-9F2E-9338F62AE146}" dt="2022-01-26T15:27:21.168" v="93" actId="20577"/>
          <ac:spMkLst>
            <pc:docMk/>
            <pc:sldMk cId="2345305854" sldId="2147229389"/>
            <ac:spMk id="13" creationId="{C1A13EA3-827C-4544-9217-53A5DC46156F}"/>
          </ac:spMkLst>
        </pc:spChg>
        <pc:spChg chg="mod">
          <ac:chgData name="LAISSAOUI, Ghita" userId="S::ghita.laissaoui@capgemini.com::ac8a0427-4948-4bf4-bb5c-4b9a41a9bd01" providerId="AD" clId="Web-{2CF1BA31-7774-4B67-9F2E-9338F62AE146}" dt="2022-01-26T15:27:40.450" v="119" actId="20577"/>
          <ac:spMkLst>
            <pc:docMk/>
            <pc:sldMk cId="2345305854" sldId="2147229389"/>
            <ac:spMk id="16" creationId="{B4848C3B-C5E0-4346-B69B-1A6C1F0046E5}"/>
          </ac:spMkLst>
        </pc:spChg>
        <pc:spChg chg="mod">
          <ac:chgData name="LAISSAOUI, Ghita" userId="S::ghita.laissaoui@capgemini.com::ac8a0427-4948-4bf4-bb5c-4b9a41a9bd01" providerId="AD" clId="Web-{2CF1BA31-7774-4B67-9F2E-9338F62AE146}" dt="2022-01-26T15:27:35.793" v="118" actId="20577"/>
          <ac:spMkLst>
            <pc:docMk/>
            <pc:sldMk cId="2345305854" sldId="2147229389"/>
            <ac:spMk id="20" creationId="{A5589EC1-6FB5-4D9B-8A18-C11F05ADA284}"/>
          </ac:spMkLst>
        </pc:spChg>
      </pc:sldChg>
      <pc:sldChg chg="modSp">
        <pc:chgData name="LAISSAOUI, Ghita" userId="S::ghita.laissaoui@capgemini.com::ac8a0427-4948-4bf4-bb5c-4b9a41a9bd01" providerId="AD" clId="Web-{2CF1BA31-7774-4B67-9F2E-9338F62AE146}" dt="2022-01-26T15:26:21.963" v="51" actId="20577"/>
        <pc:sldMkLst>
          <pc:docMk/>
          <pc:sldMk cId="1649805037" sldId="2147229397"/>
        </pc:sldMkLst>
        <pc:spChg chg="mod">
          <ac:chgData name="LAISSAOUI, Ghita" userId="S::ghita.laissaoui@capgemini.com::ac8a0427-4948-4bf4-bb5c-4b9a41a9bd01" providerId="AD" clId="Web-{2CF1BA31-7774-4B67-9F2E-9338F62AE146}" dt="2022-01-26T15:26:21.963" v="51" actId="20577"/>
          <ac:spMkLst>
            <pc:docMk/>
            <pc:sldMk cId="1649805037" sldId="2147229397"/>
            <ac:spMk id="9" creationId="{23FA1A77-EE55-48D6-B785-3B99A3F88714}"/>
          </ac:spMkLst>
        </pc:spChg>
      </pc:sldChg>
    </pc:docChg>
  </pc:docChgLst>
  <pc:docChgLst>
    <pc:chgData name="LAISSAOUI, Ghita" userId="ac8a0427-4948-4bf4-bb5c-4b9a41a9bd01" providerId="ADAL" clId="{8C4A23C6-A272-4AE5-87F4-94EB44631B18}"/>
    <pc:docChg chg="undo redo custSel addSld delSld modSld sldOrd delMainMaster">
      <pc:chgData name="LAISSAOUI, Ghita" userId="ac8a0427-4948-4bf4-bb5c-4b9a41a9bd01" providerId="ADAL" clId="{8C4A23C6-A272-4AE5-87F4-94EB44631B18}" dt="2022-02-01T16:10:18.440" v="9819" actId="1035"/>
      <pc:docMkLst>
        <pc:docMk/>
      </pc:docMkLst>
      <pc:sldChg chg="modSp del mod">
        <pc:chgData name="LAISSAOUI, Ghita" userId="ac8a0427-4948-4bf4-bb5c-4b9a41a9bd01" providerId="ADAL" clId="{8C4A23C6-A272-4AE5-87F4-94EB44631B18}" dt="2022-01-31T06:50:00.357" v="7703" actId="47"/>
        <pc:sldMkLst>
          <pc:docMk/>
          <pc:sldMk cId="0" sldId="265"/>
        </pc:sldMkLst>
        <pc:spChg chg="mod">
          <ac:chgData name="LAISSAOUI, Ghita" userId="ac8a0427-4948-4bf4-bb5c-4b9a41a9bd01" providerId="ADAL" clId="{8C4A23C6-A272-4AE5-87F4-94EB44631B18}" dt="2022-01-24T17:54:13.603" v="2" actId="121"/>
          <ac:spMkLst>
            <pc:docMk/>
            <pc:sldMk cId="0" sldId="265"/>
            <ac:spMk id="12" creationId="{D23E2C7F-3E9B-45BC-91F6-C1CBB83E47F2}"/>
          </ac:spMkLst>
        </pc:spChg>
      </pc:sldChg>
      <pc:sldChg chg="modSp del mod">
        <pc:chgData name="LAISSAOUI, Ghita" userId="ac8a0427-4948-4bf4-bb5c-4b9a41a9bd01" providerId="ADAL" clId="{8C4A23C6-A272-4AE5-87F4-94EB44631B18}" dt="2022-01-31T06:50:03.184" v="7704" actId="47"/>
        <pc:sldMkLst>
          <pc:docMk/>
          <pc:sldMk cId="0" sldId="269"/>
        </pc:sldMkLst>
        <pc:spChg chg="mod">
          <ac:chgData name="LAISSAOUI, Ghita" userId="ac8a0427-4948-4bf4-bb5c-4b9a41a9bd01" providerId="ADAL" clId="{8C4A23C6-A272-4AE5-87F4-94EB44631B18}" dt="2022-01-24T17:54:57.748" v="22" actId="20577"/>
          <ac:spMkLst>
            <pc:docMk/>
            <pc:sldMk cId="0" sldId="269"/>
            <ac:spMk id="2" creationId="{479B4B88-82E2-4750-B233-5C711ADEB815}"/>
          </ac:spMkLst>
        </pc:spChg>
        <pc:spChg chg="mod">
          <ac:chgData name="LAISSAOUI, Ghita" userId="ac8a0427-4948-4bf4-bb5c-4b9a41a9bd01" providerId="ADAL" clId="{8C4A23C6-A272-4AE5-87F4-94EB44631B18}" dt="2022-01-24T17:54:24.126" v="3" actId="121"/>
          <ac:spMkLst>
            <pc:docMk/>
            <pc:sldMk cId="0" sldId="269"/>
            <ac:spMk id="6" creationId="{D32BA332-B4AC-4557-82CB-343B086327CE}"/>
          </ac:spMkLst>
        </pc:spChg>
      </pc:sldChg>
      <pc:sldChg chg="modSp mod">
        <pc:chgData name="LAISSAOUI, Ghita" userId="ac8a0427-4948-4bf4-bb5c-4b9a41a9bd01" providerId="ADAL" clId="{8C4A23C6-A272-4AE5-87F4-94EB44631B18}" dt="2022-01-24T17:55:18.654" v="24" actId="1076"/>
        <pc:sldMkLst>
          <pc:docMk/>
          <pc:sldMk cId="0" sldId="270"/>
        </pc:sldMkLst>
        <pc:spChg chg="mod">
          <ac:chgData name="LAISSAOUI, Ghita" userId="ac8a0427-4948-4bf4-bb5c-4b9a41a9bd01" providerId="ADAL" clId="{8C4A23C6-A272-4AE5-87F4-94EB44631B18}" dt="2022-01-24T17:55:18.654" v="24" actId="1076"/>
          <ac:spMkLst>
            <pc:docMk/>
            <pc:sldMk cId="0" sldId="270"/>
            <ac:spMk id="7" creationId="{5C4F893A-3720-49C3-9AC4-7DF4E1A7F0B4}"/>
          </ac:spMkLst>
        </pc:spChg>
      </pc:sldChg>
      <pc:sldChg chg="modSp del mod">
        <pc:chgData name="LAISSAOUI, Ghita" userId="ac8a0427-4948-4bf4-bb5c-4b9a41a9bd01" providerId="ADAL" clId="{8C4A23C6-A272-4AE5-87F4-94EB44631B18}" dt="2022-01-31T07:04:06.657" v="8078" actId="47"/>
        <pc:sldMkLst>
          <pc:docMk/>
          <pc:sldMk cId="486010690" sldId="297"/>
        </pc:sldMkLst>
        <pc:spChg chg="mod">
          <ac:chgData name="LAISSAOUI, Ghita" userId="ac8a0427-4948-4bf4-bb5c-4b9a41a9bd01" providerId="ADAL" clId="{8C4A23C6-A272-4AE5-87F4-94EB44631B18}" dt="2022-01-31T07:03:15.701" v="8066" actId="1076"/>
          <ac:spMkLst>
            <pc:docMk/>
            <pc:sldMk cId="486010690" sldId="297"/>
            <ac:spMk id="11" creationId="{A43F40C9-4D0C-4A80-92A7-36650FC540E8}"/>
          </ac:spMkLst>
        </pc:spChg>
        <pc:spChg chg="mod">
          <ac:chgData name="LAISSAOUI, Ghita" userId="ac8a0427-4948-4bf4-bb5c-4b9a41a9bd01" providerId="ADAL" clId="{8C4A23C6-A272-4AE5-87F4-94EB44631B18}" dt="2022-01-24T17:54:08.447" v="1" actId="121"/>
          <ac:spMkLst>
            <pc:docMk/>
            <pc:sldMk cId="486010690" sldId="297"/>
            <ac:spMk id="14" creationId="{E8D39C25-C860-4ECD-95B6-15BABE6557B2}"/>
          </ac:spMkLst>
        </pc:spChg>
        <pc:picChg chg="mod">
          <ac:chgData name="LAISSAOUI, Ghita" userId="ac8a0427-4948-4bf4-bb5c-4b9a41a9bd01" providerId="ADAL" clId="{8C4A23C6-A272-4AE5-87F4-94EB44631B18}" dt="2022-01-31T07:03:12.787" v="8065" actId="1076"/>
          <ac:picMkLst>
            <pc:docMk/>
            <pc:sldMk cId="486010690" sldId="297"/>
            <ac:picMk id="853" creationId="{00000000-0000-0000-0000-000000000000}"/>
          </ac:picMkLst>
        </pc:picChg>
      </pc:sldChg>
      <pc:sldChg chg="addSp delSp modSp add del mod">
        <pc:chgData name="LAISSAOUI, Ghita" userId="ac8a0427-4948-4bf4-bb5c-4b9a41a9bd01" providerId="ADAL" clId="{8C4A23C6-A272-4AE5-87F4-94EB44631B18}" dt="2022-02-01T08:32:11.798" v="9324" actId="47"/>
        <pc:sldMkLst>
          <pc:docMk/>
          <pc:sldMk cId="1786030250" sldId="434"/>
        </pc:sldMkLst>
        <pc:spChg chg="del">
          <ac:chgData name="LAISSAOUI, Ghita" userId="ac8a0427-4948-4bf4-bb5c-4b9a41a9bd01" providerId="ADAL" clId="{8C4A23C6-A272-4AE5-87F4-94EB44631B18}" dt="2022-01-27T08:43:17.229" v="3982" actId="478"/>
          <ac:spMkLst>
            <pc:docMk/>
            <pc:sldMk cId="1786030250" sldId="434"/>
            <ac:spMk id="3" creationId="{2EB20E5E-409C-485A-947A-0C8AE3CDA6C8}"/>
          </ac:spMkLst>
        </pc:spChg>
        <pc:spChg chg="del">
          <ac:chgData name="LAISSAOUI, Ghita" userId="ac8a0427-4948-4bf4-bb5c-4b9a41a9bd01" providerId="ADAL" clId="{8C4A23C6-A272-4AE5-87F4-94EB44631B18}" dt="2022-01-27T08:19:57.346" v="3926" actId="478"/>
          <ac:spMkLst>
            <pc:docMk/>
            <pc:sldMk cId="1786030250" sldId="434"/>
            <ac:spMk id="13" creationId="{AC96BB2B-33F7-4D9F-839B-30F33222AEFD}"/>
          </ac:spMkLst>
        </pc:spChg>
        <pc:spChg chg="del">
          <ac:chgData name="LAISSAOUI, Ghita" userId="ac8a0427-4948-4bf4-bb5c-4b9a41a9bd01" providerId="ADAL" clId="{8C4A23C6-A272-4AE5-87F4-94EB44631B18}" dt="2022-01-27T08:20:01.936" v="3927" actId="478"/>
          <ac:spMkLst>
            <pc:docMk/>
            <pc:sldMk cId="1786030250" sldId="434"/>
            <ac:spMk id="15" creationId="{36197816-0161-449C-B9D0-24DC8FA21B0B}"/>
          </ac:spMkLst>
        </pc:spChg>
        <pc:spChg chg="add del mod">
          <ac:chgData name="LAISSAOUI, Ghita" userId="ac8a0427-4948-4bf4-bb5c-4b9a41a9bd01" providerId="ADAL" clId="{8C4A23C6-A272-4AE5-87F4-94EB44631B18}" dt="2022-01-27T08:43:21.873" v="3986"/>
          <ac:spMkLst>
            <pc:docMk/>
            <pc:sldMk cId="1786030250" sldId="434"/>
            <ac:spMk id="16" creationId="{ACE77737-4D34-42DF-81F0-C20271326CD0}"/>
          </ac:spMkLst>
        </pc:spChg>
        <pc:spChg chg="add mod">
          <ac:chgData name="LAISSAOUI, Ghita" userId="ac8a0427-4948-4bf4-bb5c-4b9a41a9bd01" providerId="ADAL" clId="{8C4A23C6-A272-4AE5-87F4-94EB44631B18}" dt="2022-01-27T08:44:34.169" v="4005" actId="403"/>
          <ac:spMkLst>
            <pc:docMk/>
            <pc:sldMk cId="1786030250" sldId="434"/>
            <ac:spMk id="17" creationId="{72ED742A-1DC5-4D46-8FB8-C74B7981BF61}"/>
          </ac:spMkLst>
        </pc:spChg>
        <pc:spChg chg="add del mod">
          <ac:chgData name="LAISSAOUI, Ghita" userId="ac8a0427-4948-4bf4-bb5c-4b9a41a9bd01" providerId="ADAL" clId="{8C4A23C6-A272-4AE5-87F4-94EB44631B18}" dt="2022-01-27T08:43:35.659" v="3989"/>
          <ac:spMkLst>
            <pc:docMk/>
            <pc:sldMk cId="1786030250" sldId="434"/>
            <ac:spMk id="18" creationId="{44AA598D-64F9-4DEE-B2B6-8841FE580056}"/>
          </ac:spMkLst>
        </pc:spChg>
        <pc:spChg chg="add mod">
          <ac:chgData name="LAISSAOUI, Ghita" userId="ac8a0427-4948-4bf4-bb5c-4b9a41a9bd01" providerId="ADAL" clId="{8C4A23C6-A272-4AE5-87F4-94EB44631B18}" dt="2022-01-27T08:45:04.105" v="4032" actId="14100"/>
          <ac:spMkLst>
            <pc:docMk/>
            <pc:sldMk cId="1786030250" sldId="434"/>
            <ac:spMk id="19" creationId="{D8586D5A-1C76-4E31-BF8C-B328859387B1}"/>
          </ac:spMkLst>
        </pc:spChg>
        <pc:picChg chg="mod">
          <ac:chgData name="LAISSAOUI, Ghita" userId="ac8a0427-4948-4bf4-bb5c-4b9a41a9bd01" providerId="ADAL" clId="{8C4A23C6-A272-4AE5-87F4-94EB44631B18}" dt="2022-01-27T08:44:09.529" v="3996" actId="1076"/>
          <ac:picMkLst>
            <pc:docMk/>
            <pc:sldMk cId="1786030250" sldId="434"/>
            <ac:picMk id="2" creationId="{055E1861-1AB0-4E88-A41A-A6FB54DD6DA9}"/>
          </ac:picMkLst>
        </pc:picChg>
        <pc:picChg chg="mod">
          <ac:chgData name="LAISSAOUI, Ghita" userId="ac8a0427-4948-4bf4-bb5c-4b9a41a9bd01" providerId="ADAL" clId="{8C4A23C6-A272-4AE5-87F4-94EB44631B18}" dt="2022-01-27T08:43:48.910" v="3991" actId="1076"/>
          <ac:picMkLst>
            <pc:docMk/>
            <pc:sldMk cId="1786030250" sldId="434"/>
            <ac:picMk id="12" creationId="{3427FA9D-152A-A745-9A61-B2209B9F9AD4}"/>
          </ac:picMkLst>
        </pc:picChg>
      </pc:sldChg>
      <pc:sldChg chg="addSp delSp modSp add del mod">
        <pc:chgData name="LAISSAOUI, Ghita" userId="ac8a0427-4948-4bf4-bb5c-4b9a41a9bd01" providerId="ADAL" clId="{8C4A23C6-A272-4AE5-87F4-94EB44631B18}" dt="2022-01-31T06:48:06.500" v="7687" actId="47"/>
        <pc:sldMkLst>
          <pc:docMk/>
          <pc:sldMk cId="337468842" sldId="1001"/>
        </pc:sldMkLst>
        <pc:spChg chg="mod ord">
          <ac:chgData name="LAISSAOUI, Ghita" userId="ac8a0427-4948-4bf4-bb5c-4b9a41a9bd01" providerId="ADAL" clId="{8C4A23C6-A272-4AE5-87F4-94EB44631B18}" dt="2022-01-27T14:58:44.455" v="5297" actId="166"/>
          <ac:spMkLst>
            <pc:docMk/>
            <pc:sldMk cId="337468842" sldId="1001"/>
            <ac:spMk id="3" creationId="{E1F9D801-434D-4FD6-A38C-A6C187DD7E2B}"/>
          </ac:spMkLst>
        </pc:spChg>
        <pc:spChg chg="mod ord">
          <ac:chgData name="LAISSAOUI, Ghita" userId="ac8a0427-4948-4bf4-bb5c-4b9a41a9bd01" providerId="ADAL" clId="{8C4A23C6-A272-4AE5-87F4-94EB44631B18}" dt="2022-01-27T15:03:57.748" v="5338" actId="207"/>
          <ac:spMkLst>
            <pc:docMk/>
            <pc:sldMk cId="337468842" sldId="1001"/>
            <ac:spMk id="4" creationId="{15E659B3-EA4B-405E-9FAE-00661F32418F}"/>
          </ac:spMkLst>
        </pc:spChg>
        <pc:spChg chg="add del mod ord">
          <ac:chgData name="LAISSAOUI, Ghita" userId="ac8a0427-4948-4bf4-bb5c-4b9a41a9bd01" providerId="ADAL" clId="{8C4A23C6-A272-4AE5-87F4-94EB44631B18}" dt="2022-01-27T16:50:16.615" v="6492" actId="478"/>
          <ac:spMkLst>
            <pc:docMk/>
            <pc:sldMk cId="337468842" sldId="1001"/>
            <ac:spMk id="10" creationId="{115CDC4C-EFD8-40FA-9AAE-0C310E98F732}"/>
          </ac:spMkLst>
        </pc:spChg>
        <pc:spChg chg="add del">
          <ac:chgData name="LAISSAOUI, Ghita" userId="ac8a0427-4948-4bf4-bb5c-4b9a41a9bd01" providerId="ADAL" clId="{8C4A23C6-A272-4AE5-87F4-94EB44631B18}" dt="2022-01-27T14:59:20.705" v="5305" actId="11529"/>
          <ac:spMkLst>
            <pc:docMk/>
            <pc:sldMk cId="337468842" sldId="1001"/>
            <ac:spMk id="12" creationId="{593B2D48-D193-4043-B24F-56229EB6EE2B}"/>
          </ac:spMkLst>
        </pc:spChg>
        <pc:spChg chg="add del mod ord">
          <ac:chgData name="LAISSAOUI, Ghita" userId="ac8a0427-4948-4bf4-bb5c-4b9a41a9bd01" providerId="ADAL" clId="{8C4A23C6-A272-4AE5-87F4-94EB44631B18}" dt="2022-01-27T15:02:57.601" v="5327" actId="478"/>
          <ac:spMkLst>
            <pc:docMk/>
            <pc:sldMk cId="337468842" sldId="1001"/>
            <ac:spMk id="13" creationId="{63D9ABF4-924C-4BB9-8B6B-1B8498BE064C}"/>
          </ac:spMkLst>
        </pc:spChg>
        <pc:spChg chg="add del mod">
          <ac:chgData name="LAISSAOUI, Ghita" userId="ac8a0427-4948-4bf4-bb5c-4b9a41a9bd01" providerId="ADAL" clId="{8C4A23C6-A272-4AE5-87F4-94EB44631B18}" dt="2022-01-27T15:02:21.539" v="5320" actId="478"/>
          <ac:spMkLst>
            <pc:docMk/>
            <pc:sldMk cId="337468842" sldId="1001"/>
            <ac:spMk id="15" creationId="{D00A828F-5110-49D0-81B0-456FA7CE112C}"/>
          </ac:spMkLst>
        </pc:spChg>
        <pc:spChg chg="add mod">
          <ac:chgData name="LAISSAOUI, Ghita" userId="ac8a0427-4948-4bf4-bb5c-4b9a41a9bd01" providerId="ADAL" clId="{8C4A23C6-A272-4AE5-87F4-94EB44631B18}" dt="2022-01-27T15:04:07.754" v="5340" actId="164"/>
          <ac:spMkLst>
            <pc:docMk/>
            <pc:sldMk cId="337468842" sldId="1001"/>
            <ac:spMk id="16" creationId="{D733EB7B-ED25-480B-9411-60AD44EEACA7}"/>
          </ac:spMkLst>
        </pc:spChg>
        <pc:spChg chg="add mod ord">
          <ac:chgData name="LAISSAOUI, Ghita" userId="ac8a0427-4948-4bf4-bb5c-4b9a41a9bd01" providerId="ADAL" clId="{8C4A23C6-A272-4AE5-87F4-94EB44631B18}" dt="2022-01-27T15:04:07.754" v="5340" actId="164"/>
          <ac:spMkLst>
            <pc:docMk/>
            <pc:sldMk cId="337468842" sldId="1001"/>
            <ac:spMk id="17" creationId="{9C609C58-2FD1-41CC-868C-3186D89B424C}"/>
          </ac:spMkLst>
        </pc:spChg>
        <pc:grpChg chg="add mod">
          <ac:chgData name="LAISSAOUI, Ghita" userId="ac8a0427-4948-4bf4-bb5c-4b9a41a9bd01" providerId="ADAL" clId="{8C4A23C6-A272-4AE5-87F4-94EB44631B18}" dt="2022-01-27T15:04:07.754" v="5340" actId="164"/>
          <ac:grpSpMkLst>
            <pc:docMk/>
            <pc:sldMk cId="337468842" sldId="1001"/>
            <ac:grpSpMk id="18" creationId="{DC783C6E-A3B3-4605-876E-E629DA781DDC}"/>
          </ac:grpSpMkLst>
        </pc:grpChg>
        <pc:picChg chg="add del mod modCrop">
          <ac:chgData name="LAISSAOUI, Ghita" userId="ac8a0427-4948-4bf4-bb5c-4b9a41a9bd01" providerId="ADAL" clId="{8C4A23C6-A272-4AE5-87F4-94EB44631B18}" dt="2022-01-27T14:53:59.464" v="5272"/>
          <ac:picMkLst>
            <pc:docMk/>
            <pc:sldMk cId="337468842" sldId="1001"/>
            <ac:picMk id="2" creationId="{164456DB-DAAF-470E-AC62-F31E9BA60686}"/>
          </ac:picMkLst>
        </pc:picChg>
        <pc:picChg chg="add del mod ord">
          <ac:chgData name="LAISSAOUI, Ghita" userId="ac8a0427-4948-4bf4-bb5c-4b9a41a9bd01" providerId="ADAL" clId="{8C4A23C6-A272-4AE5-87F4-94EB44631B18}" dt="2022-01-27T14:52:30.506" v="5256" actId="478"/>
          <ac:picMkLst>
            <pc:docMk/>
            <pc:sldMk cId="337468842" sldId="1001"/>
            <ac:picMk id="5" creationId="{4A79E435-EB78-45AC-9797-C50B14823739}"/>
          </ac:picMkLst>
        </pc:picChg>
        <pc:picChg chg="add del mod ord modCrop">
          <ac:chgData name="LAISSAOUI, Ghita" userId="ac8a0427-4948-4bf4-bb5c-4b9a41a9bd01" providerId="ADAL" clId="{8C4A23C6-A272-4AE5-87F4-94EB44631B18}" dt="2022-01-27T14:53:59.207" v="5271"/>
          <ac:picMkLst>
            <pc:docMk/>
            <pc:sldMk cId="337468842" sldId="1001"/>
            <ac:picMk id="6" creationId="{974BCEC9-B62D-489D-89E6-7BCEF9790EFA}"/>
          </ac:picMkLst>
        </pc:picChg>
        <pc:picChg chg="add del mod">
          <ac:chgData name="LAISSAOUI, Ghita" userId="ac8a0427-4948-4bf4-bb5c-4b9a41a9bd01" providerId="ADAL" clId="{8C4A23C6-A272-4AE5-87F4-94EB44631B18}" dt="2022-01-27T14:56:22.221" v="5281"/>
          <ac:picMkLst>
            <pc:docMk/>
            <pc:sldMk cId="337468842" sldId="1001"/>
            <ac:picMk id="7" creationId="{D659255A-621D-49E0-83DC-818037A12D2F}"/>
          </ac:picMkLst>
        </pc:picChg>
        <pc:picChg chg="add del mod modCrop">
          <ac:chgData name="LAISSAOUI, Ghita" userId="ac8a0427-4948-4bf4-bb5c-4b9a41a9bd01" providerId="ADAL" clId="{8C4A23C6-A272-4AE5-87F4-94EB44631B18}" dt="2022-01-27T14:57:52.217" v="5293" actId="478"/>
          <ac:picMkLst>
            <pc:docMk/>
            <pc:sldMk cId="337468842" sldId="1001"/>
            <ac:picMk id="8" creationId="{D703FC61-6FAB-438F-B87C-B16BE56D9939}"/>
          </ac:picMkLst>
        </pc:picChg>
        <pc:picChg chg="add del mod ord modCrop">
          <ac:chgData name="LAISSAOUI, Ghita" userId="ac8a0427-4948-4bf4-bb5c-4b9a41a9bd01" providerId="ADAL" clId="{8C4A23C6-A272-4AE5-87F4-94EB44631B18}" dt="2022-01-27T14:57:54.113" v="5294" actId="478"/>
          <ac:picMkLst>
            <pc:docMk/>
            <pc:sldMk cId="337468842" sldId="1001"/>
            <ac:picMk id="9" creationId="{79337DBD-A387-4063-AFCD-CED3A603A316}"/>
          </ac:picMkLst>
        </pc:picChg>
        <pc:picChg chg="add del mod ord">
          <ac:chgData name="LAISSAOUI, Ghita" userId="ac8a0427-4948-4bf4-bb5c-4b9a41a9bd01" providerId="ADAL" clId="{8C4A23C6-A272-4AE5-87F4-94EB44631B18}" dt="2022-01-27T14:59:22.272" v="5307"/>
          <ac:picMkLst>
            <pc:docMk/>
            <pc:sldMk cId="337468842" sldId="1001"/>
            <ac:picMk id="11" creationId="{81C3246B-2E30-4211-A020-E3FBC75C077C}"/>
          </ac:picMkLst>
        </pc:picChg>
        <pc:picChg chg="add mod ord modCrop">
          <ac:chgData name="LAISSAOUI, Ghita" userId="ac8a0427-4948-4bf4-bb5c-4b9a41a9bd01" providerId="ADAL" clId="{8C4A23C6-A272-4AE5-87F4-94EB44631B18}" dt="2022-01-27T15:04:07.754" v="5340" actId="164"/>
          <ac:picMkLst>
            <pc:docMk/>
            <pc:sldMk cId="337468842" sldId="1001"/>
            <ac:picMk id="14" creationId="{670A87F5-3E7F-4182-9030-1419F29D9A06}"/>
          </ac:picMkLst>
        </pc:picChg>
      </pc:sldChg>
      <pc:sldChg chg="add del">
        <pc:chgData name="LAISSAOUI, Ghita" userId="ac8a0427-4948-4bf4-bb5c-4b9a41a9bd01" providerId="ADAL" clId="{8C4A23C6-A272-4AE5-87F4-94EB44631B18}" dt="2022-01-27T08:41:43.172" v="3976" actId="47"/>
        <pc:sldMkLst>
          <pc:docMk/>
          <pc:sldMk cId="3867533695" sldId="1042"/>
        </pc:sldMkLst>
      </pc:sldChg>
      <pc:sldChg chg="add del">
        <pc:chgData name="LAISSAOUI, Ghita" userId="ac8a0427-4948-4bf4-bb5c-4b9a41a9bd01" providerId="ADAL" clId="{8C4A23C6-A272-4AE5-87F4-94EB44631B18}" dt="2022-01-27T08:40:36.318" v="3973" actId="47"/>
        <pc:sldMkLst>
          <pc:docMk/>
          <pc:sldMk cId="967426923" sldId="1043"/>
        </pc:sldMkLst>
      </pc:sldChg>
      <pc:sldChg chg="addSp modSp del mod modNotesTx">
        <pc:chgData name="LAISSAOUI, Ghita" userId="ac8a0427-4948-4bf4-bb5c-4b9a41a9bd01" providerId="ADAL" clId="{8C4A23C6-A272-4AE5-87F4-94EB44631B18}" dt="2022-01-28T16:16:53.436" v="7492" actId="47"/>
        <pc:sldMkLst>
          <pc:docMk/>
          <pc:sldMk cId="1287675677" sldId="1608"/>
        </pc:sldMkLst>
        <pc:spChg chg="mod">
          <ac:chgData name="LAISSAOUI, Ghita" userId="ac8a0427-4948-4bf4-bb5c-4b9a41a9bd01" providerId="ADAL" clId="{8C4A23C6-A272-4AE5-87F4-94EB44631B18}" dt="2022-01-28T16:13:46.657" v="7473" actId="403"/>
          <ac:spMkLst>
            <pc:docMk/>
            <pc:sldMk cId="1287675677" sldId="1608"/>
            <ac:spMk id="18" creationId="{8BA54DB5-D50F-5545-9A21-CD15CEE8DF97}"/>
          </ac:spMkLst>
        </pc:spChg>
        <pc:spChg chg="mod">
          <ac:chgData name="LAISSAOUI, Ghita" userId="ac8a0427-4948-4bf4-bb5c-4b9a41a9bd01" providerId="ADAL" clId="{8C4A23C6-A272-4AE5-87F4-94EB44631B18}" dt="2022-01-28T16:13:35.812" v="7470" actId="403"/>
          <ac:spMkLst>
            <pc:docMk/>
            <pc:sldMk cId="1287675677" sldId="1608"/>
            <ac:spMk id="19" creationId="{C64E7E6A-CC21-1442-B241-AA7CD1DE879C}"/>
          </ac:spMkLst>
        </pc:spChg>
        <pc:picChg chg="add mod modCrop">
          <ac:chgData name="LAISSAOUI, Ghita" userId="ac8a0427-4948-4bf4-bb5c-4b9a41a9bd01" providerId="ADAL" clId="{8C4A23C6-A272-4AE5-87F4-94EB44631B18}" dt="2022-01-28T16:13:01.279" v="7467" actId="1076"/>
          <ac:picMkLst>
            <pc:docMk/>
            <pc:sldMk cId="1287675677" sldId="1608"/>
            <ac:picMk id="11" creationId="{D5DE365A-0D8E-452D-B04C-B14FCCEFAE15}"/>
          </ac:picMkLst>
        </pc:picChg>
      </pc:sldChg>
      <pc:sldChg chg="del">
        <pc:chgData name="LAISSAOUI, Ghita" userId="ac8a0427-4948-4bf4-bb5c-4b9a41a9bd01" providerId="ADAL" clId="{8C4A23C6-A272-4AE5-87F4-94EB44631B18}" dt="2022-01-28T16:19:29.384" v="7578" actId="47"/>
        <pc:sldMkLst>
          <pc:docMk/>
          <pc:sldMk cId="1987289837" sldId="1611"/>
        </pc:sldMkLst>
      </pc:sldChg>
      <pc:sldChg chg="del">
        <pc:chgData name="LAISSAOUI, Ghita" userId="ac8a0427-4948-4bf4-bb5c-4b9a41a9bd01" providerId="ADAL" clId="{8C4A23C6-A272-4AE5-87F4-94EB44631B18}" dt="2022-01-28T16:17:55.499" v="7504" actId="47"/>
        <pc:sldMkLst>
          <pc:docMk/>
          <pc:sldMk cId="2700649677" sldId="1640"/>
        </pc:sldMkLst>
      </pc:sldChg>
      <pc:sldChg chg="modSp del mod">
        <pc:chgData name="LAISSAOUI, Ghita" userId="ac8a0427-4948-4bf4-bb5c-4b9a41a9bd01" providerId="ADAL" clId="{8C4A23C6-A272-4AE5-87F4-94EB44631B18}" dt="2022-01-28T16:18:41.487" v="7535" actId="47"/>
        <pc:sldMkLst>
          <pc:docMk/>
          <pc:sldMk cId="4035830249" sldId="1641"/>
        </pc:sldMkLst>
        <pc:spChg chg="mod">
          <ac:chgData name="LAISSAOUI, Ghita" userId="ac8a0427-4948-4bf4-bb5c-4b9a41a9bd01" providerId="ADAL" clId="{8C4A23C6-A272-4AE5-87F4-94EB44631B18}" dt="2022-01-28T16:18:32.796" v="7533" actId="1076"/>
          <ac:spMkLst>
            <pc:docMk/>
            <pc:sldMk cId="4035830249" sldId="1641"/>
            <ac:spMk id="36" creationId="{00000000-0000-0000-0000-000000000000}"/>
          </ac:spMkLst>
        </pc:spChg>
      </pc:sldChg>
      <pc:sldChg chg="del ord">
        <pc:chgData name="LAISSAOUI, Ghita" userId="ac8a0427-4948-4bf4-bb5c-4b9a41a9bd01" providerId="ADAL" clId="{8C4A23C6-A272-4AE5-87F4-94EB44631B18}" dt="2022-01-28T16:09:54.421" v="7367" actId="47"/>
        <pc:sldMkLst>
          <pc:docMk/>
          <pc:sldMk cId="1121654881" sldId="1643"/>
        </pc:sldMkLst>
      </pc:sldChg>
      <pc:sldChg chg="add del">
        <pc:chgData name="LAISSAOUI, Ghita" userId="ac8a0427-4948-4bf4-bb5c-4b9a41a9bd01" providerId="ADAL" clId="{8C4A23C6-A272-4AE5-87F4-94EB44631B18}" dt="2022-01-27T14:56:26.405" v="5282" actId="47"/>
        <pc:sldMkLst>
          <pc:docMk/>
          <pc:sldMk cId="1203414761" sldId="8195"/>
        </pc:sldMkLst>
      </pc:sldChg>
      <pc:sldChg chg="addSp delSp modSp add del mod modNotesTx">
        <pc:chgData name="LAISSAOUI, Ghita" userId="ac8a0427-4948-4bf4-bb5c-4b9a41a9bd01" providerId="ADAL" clId="{8C4A23C6-A272-4AE5-87F4-94EB44631B18}" dt="2022-02-01T16:07:24.004" v="9765" actId="20577"/>
        <pc:sldMkLst>
          <pc:docMk/>
          <pc:sldMk cId="1459168639" sldId="8258"/>
        </pc:sldMkLst>
        <pc:spChg chg="del">
          <ac:chgData name="LAISSAOUI, Ghita" userId="ac8a0427-4948-4bf4-bb5c-4b9a41a9bd01" providerId="ADAL" clId="{8C4A23C6-A272-4AE5-87F4-94EB44631B18}" dt="2022-01-31T07:19:36.407" v="8261" actId="478"/>
          <ac:spMkLst>
            <pc:docMk/>
            <pc:sldMk cId="1459168639" sldId="8258"/>
            <ac:spMk id="4" creationId="{60721E7C-E093-4871-A2D2-871A7D50A6D5}"/>
          </ac:spMkLst>
        </pc:spChg>
        <pc:spChg chg="add del mod">
          <ac:chgData name="LAISSAOUI, Ghita" userId="ac8a0427-4948-4bf4-bb5c-4b9a41a9bd01" providerId="ADAL" clId="{8C4A23C6-A272-4AE5-87F4-94EB44631B18}" dt="2022-01-31T07:19:38.334" v="8262" actId="478"/>
          <ac:spMkLst>
            <pc:docMk/>
            <pc:sldMk cId="1459168639" sldId="8258"/>
            <ac:spMk id="5" creationId="{7587C094-6380-4917-8834-BA48FB590C2D}"/>
          </ac:spMkLst>
        </pc:spChg>
        <pc:spChg chg="mod">
          <ac:chgData name="LAISSAOUI, Ghita" userId="ac8a0427-4948-4bf4-bb5c-4b9a41a9bd01" providerId="ADAL" clId="{8C4A23C6-A272-4AE5-87F4-94EB44631B18}" dt="2022-01-31T07:20:49.666" v="8273" actId="207"/>
          <ac:spMkLst>
            <pc:docMk/>
            <pc:sldMk cId="1459168639" sldId="8258"/>
            <ac:spMk id="39" creationId="{A4F90FB9-9EC9-40F5-AFAB-2917505207FF}"/>
          </ac:spMkLst>
        </pc:spChg>
        <pc:spChg chg="add mod">
          <ac:chgData name="LAISSAOUI, Ghita" userId="ac8a0427-4948-4bf4-bb5c-4b9a41a9bd01" providerId="ADAL" clId="{8C4A23C6-A272-4AE5-87F4-94EB44631B18}" dt="2022-01-31T07:19:50.958" v="8264"/>
          <ac:spMkLst>
            <pc:docMk/>
            <pc:sldMk cId="1459168639" sldId="8258"/>
            <ac:spMk id="42" creationId="{856E507A-BE11-4C13-9BE4-594843DC8D37}"/>
          </ac:spMkLst>
        </pc:spChg>
        <pc:spChg chg="add mod">
          <ac:chgData name="LAISSAOUI, Ghita" userId="ac8a0427-4948-4bf4-bb5c-4b9a41a9bd01" providerId="ADAL" clId="{8C4A23C6-A272-4AE5-87F4-94EB44631B18}" dt="2022-01-31T08:38:37.955" v="8935" actId="20577"/>
          <ac:spMkLst>
            <pc:docMk/>
            <pc:sldMk cId="1459168639" sldId="8258"/>
            <ac:spMk id="43" creationId="{D9E19E9E-867F-405B-8F9B-5B782842469B}"/>
          </ac:spMkLst>
        </pc:spChg>
        <pc:spChg chg="add mod">
          <ac:chgData name="LAISSAOUI, Ghita" userId="ac8a0427-4948-4bf4-bb5c-4b9a41a9bd01" providerId="ADAL" clId="{8C4A23C6-A272-4AE5-87F4-94EB44631B18}" dt="2022-01-31T07:19:50.958" v="8264"/>
          <ac:spMkLst>
            <pc:docMk/>
            <pc:sldMk cId="1459168639" sldId="8258"/>
            <ac:spMk id="44" creationId="{2A8D4AC6-29D4-4792-A381-9DEE550066C2}"/>
          </ac:spMkLst>
        </pc:spChg>
        <pc:spChg chg="mod">
          <ac:chgData name="LAISSAOUI, Ghita" userId="ac8a0427-4948-4bf4-bb5c-4b9a41a9bd01" providerId="ADAL" clId="{8C4A23C6-A272-4AE5-87F4-94EB44631B18}" dt="2022-01-31T07:20:49.666" v="8273" actId="207"/>
          <ac:spMkLst>
            <pc:docMk/>
            <pc:sldMk cId="1459168639" sldId="8258"/>
            <ac:spMk id="47" creationId="{2DAC87FA-A8CC-4D88-8533-BE3BAE70482B}"/>
          </ac:spMkLst>
        </pc:spChg>
        <pc:spChg chg="mod">
          <ac:chgData name="LAISSAOUI, Ghita" userId="ac8a0427-4948-4bf4-bb5c-4b9a41a9bd01" providerId="ADAL" clId="{8C4A23C6-A272-4AE5-87F4-94EB44631B18}" dt="2022-01-31T07:20:49.666" v="8273" actId="207"/>
          <ac:spMkLst>
            <pc:docMk/>
            <pc:sldMk cId="1459168639" sldId="8258"/>
            <ac:spMk id="48" creationId="{248EF395-D556-4247-8CE9-21AF05B7CEA3}"/>
          </ac:spMkLst>
        </pc:spChg>
        <pc:spChg chg="mod">
          <ac:chgData name="LAISSAOUI, Ghita" userId="ac8a0427-4948-4bf4-bb5c-4b9a41a9bd01" providerId="ADAL" clId="{8C4A23C6-A272-4AE5-87F4-94EB44631B18}" dt="2022-01-31T07:20:49.666" v="8273" actId="207"/>
          <ac:spMkLst>
            <pc:docMk/>
            <pc:sldMk cId="1459168639" sldId="8258"/>
            <ac:spMk id="51" creationId="{20BA77AB-03B7-4049-9148-3BACEDB37014}"/>
          </ac:spMkLst>
        </pc:spChg>
        <pc:spChg chg="mod">
          <ac:chgData name="LAISSAOUI, Ghita" userId="ac8a0427-4948-4bf4-bb5c-4b9a41a9bd01" providerId="ADAL" clId="{8C4A23C6-A272-4AE5-87F4-94EB44631B18}" dt="2022-01-31T07:20:49.666" v="8273" actId="207"/>
          <ac:spMkLst>
            <pc:docMk/>
            <pc:sldMk cId="1459168639" sldId="8258"/>
            <ac:spMk id="52" creationId="{3CD19B9E-B2A6-4A55-B3A1-2871B12486E8}"/>
          </ac:spMkLst>
        </pc:spChg>
        <pc:spChg chg="mod">
          <ac:chgData name="LAISSAOUI, Ghita" userId="ac8a0427-4948-4bf4-bb5c-4b9a41a9bd01" providerId="ADAL" clId="{8C4A23C6-A272-4AE5-87F4-94EB44631B18}" dt="2022-01-31T07:20:49.666" v="8273" actId="207"/>
          <ac:spMkLst>
            <pc:docMk/>
            <pc:sldMk cId="1459168639" sldId="8258"/>
            <ac:spMk id="53" creationId="{C21F3C4A-47D0-49DA-91F4-8B91C69A4086}"/>
          </ac:spMkLst>
        </pc:spChg>
        <pc:spChg chg="mod">
          <ac:chgData name="LAISSAOUI, Ghita" userId="ac8a0427-4948-4bf4-bb5c-4b9a41a9bd01" providerId="ADAL" clId="{8C4A23C6-A272-4AE5-87F4-94EB44631B18}" dt="2022-01-31T07:20:49.666" v="8273" actId="207"/>
          <ac:spMkLst>
            <pc:docMk/>
            <pc:sldMk cId="1459168639" sldId="8258"/>
            <ac:spMk id="55" creationId="{D2172742-98B9-4E75-BA25-368E7D7E8ABC}"/>
          </ac:spMkLst>
        </pc:spChg>
        <pc:spChg chg="mod">
          <ac:chgData name="LAISSAOUI, Ghita" userId="ac8a0427-4948-4bf4-bb5c-4b9a41a9bd01" providerId="ADAL" clId="{8C4A23C6-A272-4AE5-87F4-94EB44631B18}" dt="2022-01-31T07:20:49.666" v="8273" actId="207"/>
          <ac:spMkLst>
            <pc:docMk/>
            <pc:sldMk cId="1459168639" sldId="8258"/>
            <ac:spMk id="56" creationId="{CD06BCE8-4B6B-4E2A-88BF-40AC751E045D}"/>
          </ac:spMkLst>
        </pc:spChg>
        <pc:spChg chg="mod">
          <ac:chgData name="LAISSAOUI, Ghita" userId="ac8a0427-4948-4bf4-bb5c-4b9a41a9bd01" providerId="ADAL" clId="{8C4A23C6-A272-4AE5-87F4-94EB44631B18}" dt="2022-01-31T07:20:49.666" v="8273" actId="207"/>
          <ac:spMkLst>
            <pc:docMk/>
            <pc:sldMk cId="1459168639" sldId="8258"/>
            <ac:spMk id="57" creationId="{F284B22E-9373-4B42-954A-48888CBDD2D8}"/>
          </ac:spMkLst>
        </pc:spChg>
        <pc:spChg chg="mod">
          <ac:chgData name="LAISSAOUI, Ghita" userId="ac8a0427-4948-4bf4-bb5c-4b9a41a9bd01" providerId="ADAL" clId="{8C4A23C6-A272-4AE5-87F4-94EB44631B18}" dt="2022-01-31T07:20:49.666" v="8273" actId="207"/>
          <ac:spMkLst>
            <pc:docMk/>
            <pc:sldMk cId="1459168639" sldId="8258"/>
            <ac:spMk id="59" creationId="{B2463874-F0EB-4182-A05F-3B115DD5AF58}"/>
          </ac:spMkLst>
        </pc:spChg>
        <pc:spChg chg="mod">
          <ac:chgData name="LAISSAOUI, Ghita" userId="ac8a0427-4948-4bf4-bb5c-4b9a41a9bd01" providerId="ADAL" clId="{8C4A23C6-A272-4AE5-87F4-94EB44631B18}" dt="2022-01-31T07:20:49.666" v="8273" actId="207"/>
          <ac:spMkLst>
            <pc:docMk/>
            <pc:sldMk cId="1459168639" sldId="8258"/>
            <ac:spMk id="60" creationId="{8A2197A5-DDC5-4505-9DB4-59D28103A113}"/>
          </ac:spMkLst>
        </pc:spChg>
        <pc:spChg chg="mod">
          <ac:chgData name="LAISSAOUI, Ghita" userId="ac8a0427-4948-4bf4-bb5c-4b9a41a9bd01" providerId="ADAL" clId="{8C4A23C6-A272-4AE5-87F4-94EB44631B18}" dt="2022-01-31T07:20:49.666" v="8273" actId="207"/>
          <ac:spMkLst>
            <pc:docMk/>
            <pc:sldMk cId="1459168639" sldId="8258"/>
            <ac:spMk id="61" creationId="{51F17E6F-B082-4F48-90ED-FF26C77F92B6}"/>
          </ac:spMkLst>
        </pc:spChg>
        <pc:spChg chg="mod">
          <ac:chgData name="LAISSAOUI, Ghita" userId="ac8a0427-4948-4bf4-bb5c-4b9a41a9bd01" providerId="ADAL" clId="{8C4A23C6-A272-4AE5-87F4-94EB44631B18}" dt="2022-01-31T07:20:49.666" v="8273" actId="207"/>
          <ac:spMkLst>
            <pc:docMk/>
            <pc:sldMk cId="1459168639" sldId="8258"/>
            <ac:spMk id="87" creationId="{F59C8110-7904-4B8B-BAFE-E6D6DEF72E28}"/>
          </ac:spMkLst>
        </pc:spChg>
        <pc:spChg chg="mod">
          <ac:chgData name="LAISSAOUI, Ghita" userId="ac8a0427-4948-4bf4-bb5c-4b9a41a9bd01" providerId="ADAL" clId="{8C4A23C6-A272-4AE5-87F4-94EB44631B18}" dt="2022-01-31T07:20:49.666" v="8273" actId="207"/>
          <ac:spMkLst>
            <pc:docMk/>
            <pc:sldMk cId="1459168639" sldId="8258"/>
            <ac:spMk id="97" creationId="{F8690E45-75DE-4532-B6DF-2C053391411D}"/>
          </ac:spMkLst>
        </pc:spChg>
        <pc:spChg chg="mod">
          <ac:chgData name="LAISSAOUI, Ghita" userId="ac8a0427-4948-4bf4-bb5c-4b9a41a9bd01" providerId="ADAL" clId="{8C4A23C6-A272-4AE5-87F4-94EB44631B18}" dt="2022-01-31T07:20:49.666" v="8273" actId="207"/>
          <ac:spMkLst>
            <pc:docMk/>
            <pc:sldMk cId="1459168639" sldId="8258"/>
            <ac:spMk id="98" creationId="{1CB7B08E-D783-433E-9F6D-12F9105E5FA9}"/>
          </ac:spMkLst>
        </pc:spChg>
        <pc:spChg chg="mod topLvl">
          <ac:chgData name="LAISSAOUI, Ghita" userId="ac8a0427-4948-4bf4-bb5c-4b9a41a9bd01" providerId="ADAL" clId="{8C4A23C6-A272-4AE5-87F4-94EB44631B18}" dt="2022-01-31T07:54:05.145" v="8832" actId="165"/>
          <ac:spMkLst>
            <pc:docMk/>
            <pc:sldMk cId="1459168639" sldId="8258"/>
            <ac:spMk id="100" creationId="{E96F3E42-EDC1-40C6-8816-2EDAB9A26A21}"/>
          </ac:spMkLst>
        </pc:spChg>
        <pc:spChg chg="mod topLvl">
          <ac:chgData name="LAISSAOUI, Ghita" userId="ac8a0427-4948-4bf4-bb5c-4b9a41a9bd01" providerId="ADAL" clId="{8C4A23C6-A272-4AE5-87F4-94EB44631B18}" dt="2022-01-31T07:54:05.145" v="8832" actId="165"/>
          <ac:spMkLst>
            <pc:docMk/>
            <pc:sldMk cId="1459168639" sldId="8258"/>
            <ac:spMk id="101" creationId="{E425DCA7-6CF7-43D5-A34B-BA4943FB0975}"/>
          </ac:spMkLst>
        </pc:spChg>
        <pc:spChg chg="mod topLvl">
          <ac:chgData name="LAISSAOUI, Ghita" userId="ac8a0427-4948-4bf4-bb5c-4b9a41a9bd01" providerId="ADAL" clId="{8C4A23C6-A272-4AE5-87F4-94EB44631B18}" dt="2022-01-31T07:54:05.145" v="8832" actId="165"/>
          <ac:spMkLst>
            <pc:docMk/>
            <pc:sldMk cId="1459168639" sldId="8258"/>
            <ac:spMk id="114" creationId="{56B13E5B-8FDA-42B8-A601-3F6C661786E0}"/>
          </ac:spMkLst>
        </pc:spChg>
        <pc:spChg chg="mod topLvl">
          <ac:chgData name="LAISSAOUI, Ghita" userId="ac8a0427-4948-4bf4-bb5c-4b9a41a9bd01" providerId="ADAL" clId="{8C4A23C6-A272-4AE5-87F4-94EB44631B18}" dt="2022-01-31T07:54:05.145" v="8832" actId="165"/>
          <ac:spMkLst>
            <pc:docMk/>
            <pc:sldMk cId="1459168639" sldId="8258"/>
            <ac:spMk id="115" creationId="{EF8D43EA-C6B2-4125-B4D4-689C7897C513}"/>
          </ac:spMkLst>
        </pc:spChg>
        <pc:spChg chg="mod">
          <ac:chgData name="LAISSAOUI, Ghita" userId="ac8a0427-4948-4bf4-bb5c-4b9a41a9bd01" providerId="ADAL" clId="{8C4A23C6-A272-4AE5-87F4-94EB44631B18}" dt="2022-01-31T07:54:05.145" v="8832" actId="165"/>
          <ac:spMkLst>
            <pc:docMk/>
            <pc:sldMk cId="1459168639" sldId="8258"/>
            <ac:spMk id="120" creationId="{8583A2D3-ECFF-47E4-BBC7-6CEFE96317E1}"/>
          </ac:spMkLst>
        </pc:spChg>
        <pc:spChg chg="mod">
          <ac:chgData name="LAISSAOUI, Ghita" userId="ac8a0427-4948-4bf4-bb5c-4b9a41a9bd01" providerId="ADAL" clId="{8C4A23C6-A272-4AE5-87F4-94EB44631B18}" dt="2022-01-31T07:54:05.145" v="8832" actId="165"/>
          <ac:spMkLst>
            <pc:docMk/>
            <pc:sldMk cId="1459168639" sldId="8258"/>
            <ac:spMk id="121" creationId="{E650F6E5-3102-49A5-86E0-47CCA4756FC9}"/>
          </ac:spMkLst>
        </pc:spChg>
        <pc:spChg chg="mod topLvl">
          <ac:chgData name="LAISSAOUI, Ghita" userId="ac8a0427-4948-4bf4-bb5c-4b9a41a9bd01" providerId="ADAL" clId="{8C4A23C6-A272-4AE5-87F4-94EB44631B18}" dt="2022-01-31T07:54:05.145" v="8832" actId="165"/>
          <ac:spMkLst>
            <pc:docMk/>
            <pc:sldMk cId="1459168639" sldId="8258"/>
            <ac:spMk id="122" creationId="{CB00246B-74F6-43FB-A3A0-3C4D1DE97117}"/>
          </ac:spMkLst>
        </pc:spChg>
        <pc:spChg chg="mod topLvl">
          <ac:chgData name="LAISSAOUI, Ghita" userId="ac8a0427-4948-4bf4-bb5c-4b9a41a9bd01" providerId="ADAL" clId="{8C4A23C6-A272-4AE5-87F4-94EB44631B18}" dt="2022-02-01T15:49:33.112" v="9731" actId="20577"/>
          <ac:spMkLst>
            <pc:docMk/>
            <pc:sldMk cId="1459168639" sldId="8258"/>
            <ac:spMk id="123" creationId="{8C6F5E90-8551-433D-B32A-E25E0D81EBD3}"/>
          </ac:spMkLst>
        </pc:spChg>
        <pc:spChg chg="mod topLvl">
          <ac:chgData name="LAISSAOUI, Ghita" userId="ac8a0427-4948-4bf4-bb5c-4b9a41a9bd01" providerId="ADAL" clId="{8C4A23C6-A272-4AE5-87F4-94EB44631B18}" dt="2022-02-01T15:45:19.568" v="9675" actId="20577"/>
          <ac:spMkLst>
            <pc:docMk/>
            <pc:sldMk cId="1459168639" sldId="8258"/>
            <ac:spMk id="124" creationId="{0522D64D-B59D-4FB8-A9C8-B975809EB346}"/>
          </ac:spMkLst>
        </pc:spChg>
        <pc:spChg chg="mod topLvl">
          <ac:chgData name="LAISSAOUI, Ghita" userId="ac8a0427-4948-4bf4-bb5c-4b9a41a9bd01" providerId="ADAL" clId="{8C4A23C6-A272-4AE5-87F4-94EB44631B18}" dt="2022-01-31T07:54:05.145" v="8832" actId="165"/>
          <ac:spMkLst>
            <pc:docMk/>
            <pc:sldMk cId="1459168639" sldId="8258"/>
            <ac:spMk id="125" creationId="{A5286A2D-F006-4D73-96B8-78BFEE5FCE03}"/>
          </ac:spMkLst>
        </pc:spChg>
        <pc:grpChg chg="del mod">
          <ac:chgData name="LAISSAOUI, Ghita" userId="ac8a0427-4948-4bf4-bb5c-4b9a41a9bd01" providerId="ADAL" clId="{8C4A23C6-A272-4AE5-87F4-94EB44631B18}" dt="2022-01-31T07:22:17.859" v="8285" actId="478"/>
          <ac:grpSpMkLst>
            <pc:docMk/>
            <pc:sldMk cId="1459168639" sldId="8258"/>
            <ac:grpSpMk id="2" creationId="{7EDC0735-B719-4964-948A-A95F2FD57B0D}"/>
          </ac:grpSpMkLst>
        </pc:grpChg>
        <pc:grpChg chg="add del mod">
          <ac:chgData name="LAISSAOUI, Ghita" userId="ac8a0427-4948-4bf4-bb5c-4b9a41a9bd01" providerId="ADAL" clId="{8C4A23C6-A272-4AE5-87F4-94EB44631B18}" dt="2022-01-31T07:54:05.145" v="8832" actId="165"/>
          <ac:grpSpMkLst>
            <pc:docMk/>
            <pc:sldMk cId="1459168639" sldId="8258"/>
            <ac:grpSpMk id="16" creationId="{496DCF28-0444-4F40-9338-A42C5AC8053A}"/>
          </ac:grpSpMkLst>
        </pc:grpChg>
        <pc:grpChg chg="mod topLvl">
          <ac:chgData name="LAISSAOUI, Ghita" userId="ac8a0427-4948-4bf4-bb5c-4b9a41a9bd01" providerId="ADAL" clId="{8C4A23C6-A272-4AE5-87F4-94EB44631B18}" dt="2022-01-31T07:54:05.145" v="8832" actId="165"/>
          <ac:grpSpMkLst>
            <pc:docMk/>
            <pc:sldMk cId="1459168639" sldId="8258"/>
            <ac:grpSpMk id="110" creationId="{98B1591A-11B6-4BD6-A98A-52BAB11A0131}"/>
          </ac:grpSpMkLst>
        </pc:grpChg>
        <pc:grpChg chg="del mod">
          <ac:chgData name="LAISSAOUI, Ghita" userId="ac8a0427-4948-4bf4-bb5c-4b9a41a9bd01" providerId="ADAL" clId="{8C4A23C6-A272-4AE5-87F4-94EB44631B18}" dt="2022-01-31T07:46:29.100" v="8780" actId="478"/>
          <ac:grpSpMkLst>
            <pc:docMk/>
            <pc:sldMk cId="1459168639" sldId="8258"/>
            <ac:grpSpMk id="111" creationId="{BA3D4460-960B-4DD1-992D-093406319D3C}"/>
          </ac:grpSpMkLst>
        </pc:grpChg>
        <pc:grpChg chg="del mod">
          <ac:chgData name="LAISSAOUI, Ghita" userId="ac8a0427-4948-4bf4-bb5c-4b9a41a9bd01" providerId="ADAL" clId="{8C4A23C6-A272-4AE5-87F4-94EB44631B18}" dt="2022-01-31T07:46:25.712" v="8778" actId="478"/>
          <ac:grpSpMkLst>
            <pc:docMk/>
            <pc:sldMk cId="1459168639" sldId="8258"/>
            <ac:grpSpMk id="112" creationId="{B0A9601A-7F45-4ADB-A4AA-D14369807EEC}"/>
          </ac:grpSpMkLst>
        </pc:grpChg>
        <pc:picChg chg="add mod">
          <ac:chgData name="LAISSAOUI, Ghita" userId="ac8a0427-4948-4bf4-bb5c-4b9a41a9bd01" providerId="ADAL" clId="{8C4A23C6-A272-4AE5-87F4-94EB44631B18}" dt="2022-01-31T08:39:05.063" v="8944" actId="1038"/>
          <ac:picMkLst>
            <pc:docMk/>
            <pc:sldMk cId="1459168639" sldId="8258"/>
            <ac:picMk id="18" creationId="{A9518892-F2E6-4335-A8D8-0AEBBD8FE649}"/>
          </ac:picMkLst>
        </pc:picChg>
        <pc:cxnChg chg="mod ord topLvl">
          <ac:chgData name="LAISSAOUI, Ghita" userId="ac8a0427-4948-4bf4-bb5c-4b9a41a9bd01" providerId="ADAL" clId="{8C4A23C6-A272-4AE5-87F4-94EB44631B18}" dt="2022-01-31T07:54:05.145" v="8832" actId="165"/>
          <ac:cxnSpMkLst>
            <pc:docMk/>
            <pc:sldMk cId="1459168639" sldId="8258"/>
            <ac:cxnSpMk id="102" creationId="{27259A22-3A3B-4D09-AD48-9BA1FC8541D5}"/>
          </ac:cxnSpMkLst>
        </pc:cxnChg>
        <pc:cxnChg chg="mod topLvl">
          <ac:chgData name="LAISSAOUI, Ghita" userId="ac8a0427-4948-4bf4-bb5c-4b9a41a9bd01" providerId="ADAL" clId="{8C4A23C6-A272-4AE5-87F4-94EB44631B18}" dt="2022-01-31T07:54:47.523" v="8836" actId="1582"/>
          <ac:cxnSpMkLst>
            <pc:docMk/>
            <pc:sldMk cId="1459168639" sldId="8258"/>
            <ac:cxnSpMk id="103" creationId="{0F006A65-8589-41B0-B6E5-583C6FCB247F}"/>
          </ac:cxnSpMkLst>
        </pc:cxnChg>
        <pc:cxnChg chg="mod ord topLvl">
          <ac:chgData name="LAISSAOUI, Ghita" userId="ac8a0427-4948-4bf4-bb5c-4b9a41a9bd01" providerId="ADAL" clId="{8C4A23C6-A272-4AE5-87F4-94EB44631B18}" dt="2022-01-31T07:54:05.145" v="8832" actId="165"/>
          <ac:cxnSpMkLst>
            <pc:docMk/>
            <pc:sldMk cId="1459168639" sldId="8258"/>
            <ac:cxnSpMk id="104" creationId="{72EC0862-007D-44C1-945D-A117ED61CDDB}"/>
          </ac:cxnSpMkLst>
        </pc:cxnChg>
        <pc:cxnChg chg="mod topLvl">
          <ac:chgData name="LAISSAOUI, Ghita" userId="ac8a0427-4948-4bf4-bb5c-4b9a41a9bd01" providerId="ADAL" clId="{8C4A23C6-A272-4AE5-87F4-94EB44631B18}" dt="2022-01-31T07:54:47.523" v="8836" actId="1582"/>
          <ac:cxnSpMkLst>
            <pc:docMk/>
            <pc:sldMk cId="1459168639" sldId="8258"/>
            <ac:cxnSpMk id="105" creationId="{ACCFFEE2-CEAB-4B20-AA97-AB58854F95D5}"/>
          </ac:cxnSpMkLst>
        </pc:cxnChg>
      </pc:sldChg>
      <pc:sldChg chg="modSp del mod">
        <pc:chgData name="LAISSAOUI, Ghita" userId="ac8a0427-4948-4bf4-bb5c-4b9a41a9bd01" providerId="ADAL" clId="{8C4A23C6-A272-4AE5-87F4-94EB44631B18}" dt="2022-01-31T06:49:56.141" v="7702" actId="47"/>
        <pc:sldMkLst>
          <pc:docMk/>
          <pc:sldMk cId="3416527252" sldId="2076137472"/>
        </pc:sldMkLst>
        <pc:spChg chg="mod">
          <ac:chgData name="LAISSAOUI, Ghita" userId="ac8a0427-4948-4bf4-bb5c-4b9a41a9bd01" providerId="ADAL" clId="{8C4A23C6-A272-4AE5-87F4-94EB44631B18}" dt="2022-01-24T17:54:01.843" v="0" actId="121"/>
          <ac:spMkLst>
            <pc:docMk/>
            <pc:sldMk cId="3416527252" sldId="2076137472"/>
            <ac:spMk id="4" creationId="{A8E334D2-4042-46FE-BC25-23789229D6E6}"/>
          </ac:spMkLst>
        </pc:spChg>
      </pc:sldChg>
      <pc:sldChg chg="del">
        <pc:chgData name="LAISSAOUI, Ghita" userId="ac8a0427-4948-4bf4-bb5c-4b9a41a9bd01" providerId="ADAL" clId="{8C4A23C6-A272-4AE5-87F4-94EB44631B18}" dt="2022-01-31T06:53:03.901" v="7884" actId="47"/>
        <pc:sldMkLst>
          <pc:docMk/>
          <pc:sldMk cId="3119676407" sldId="2076137607"/>
        </pc:sldMkLst>
      </pc:sldChg>
      <pc:sldChg chg="del">
        <pc:chgData name="LAISSAOUI, Ghita" userId="ac8a0427-4948-4bf4-bb5c-4b9a41a9bd01" providerId="ADAL" clId="{8C4A23C6-A272-4AE5-87F4-94EB44631B18}" dt="2022-01-31T06:53:32.122" v="7890" actId="47"/>
        <pc:sldMkLst>
          <pc:docMk/>
          <pc:sldMk cId="513379052" sldId="2134806702"/>
        </pc:sldMkLst>
      </pc:sldChg>
      <pc:sldChg chg="del">
        <pc:chgData name="LAISSAOUI, Ghita" userId="ac8a0427-4948-4bf4-bb5c-4b9a41a9bd01" providerId="ADAL" clId="{8C4A23C6-A272-4AE5-87F4-94EB44631B18}" dt="2022-01-31T06:53:32.780" v="7891" actId="47"/>
        <pc:sldMkLst>
          <pc:docMk/>
          <pc:sldMk cId="824743784" sldId="2134806703"/>
        </pc:sldMkLst>
      </pc:sldChg>
      <pc:sldChg chg="del">
        <pc:chgData name="LAISSAOUI, Ghita" userId="ac8a0427-4948-4bf4-bb5c-4b9a41a9bd01" providerId="ADAL" clId="{8C4A23C6-A272-4AE5-87F4-94EB44631B18}" dt="2022-01-31T06:53:33.833" v="7892" actId="47"/>
        <pc:sldMkLst>
          <pc:docMk/>
          <pc:sldMk cId="163600015" sldId="2134806704"/>
        </pc:sldMkLst>
      </pc:sldChg>
      <pc:sldChg chg="del">
        <pc:chgData name="LAISSAOUI, Ghita" userId="ac8a0427-4948-4bf4-bb5c-4b9a41a9bd01" providerId="ADAL" clId="{8C4A23C6-A272-4AE5-87F4-94EB44631B18}" dt="2022-01-31T06:53:34.755" v="7893" actId="47"/>
        <pc:sldMkLst>
          <pc:docMk/>
          <pc:sldMk cId="3768017129" sldId="2134806705"/>
        </pc:sldMkLst>
      </pc:sldChg>
      <pc:sldChg chg="del">
        <pc:chgData name="LAISSAOUI, Ghita" userId="ac8a0427-4948-4bf4-bb5c-4b9a41a9bd01" providerId="ADAL" clId="{8C4A23C6-A272-4AE5-87F4-94EB44631B18}" dt="2022-01-31T06:53:12.958" v="7885" actId="47"/>
        <pc:sldMkLst>
          <pc:docMk/>
          <pc:sldMk cId="1372585573" sldId="2134806718"/>
        </pc:sldMkLst>
      </pc:sldChg>
      <pc:sldChg chg="del">
        <pc:chgData name="LAISSAOUI, Ghita" userId="ac8a0427-4948-4bf4-bb5c-4b9a41a9bd01" providerId="ADAL" clId="{8C4A23C6-A272-4AE5-87F4-94EB44631B18}" dt="2022-01-31T06:53:28.547" v="7887" actId="47"/>
        <pc:sldMkLst>
          <pc:docMk/>
          <pc:sldMk cId="4214489561" sldId="2134806722"/>
        </pc:sldMkLst>
      </pc:sldChg>
      <pc:sldChg chg="del modNotesTx">
        <pc:chgData name="LAISSAOUI, Ghita" userId="ac8a0427-4948-4bf4-bb5c-4b9a41a9bd01" providerId="ADAL" clId="{8C4A23C6-A272-4AE5-87F4-94EB44631B18}" dt="2022-01-31T07:52:02.892" v="8793" actId="47"/>
        <pc:sldMkLst>
          <pc:docMk/>
          <pc:sldMk cId="1072622600" sldId="2134806726"/>
        </pc:sldMkLst>
      </pc:sldChg>
      <pc:sldChg chg="del">
        <pc:chgData name="LAISSAOUI, Ghita" userId="ac8a0427-4948-4bf4-bb5c-4b9a41a9bd01" providerId="ADAL" clId="{8C4A23C6-A272-4AE5-87F4-94EB44631B18}" dt="2022-01-31T06:53:15.122" v="7886" actId="47"/>
        <pc:sldMkLst>
          <pc:docMk/>
          <pc:sldMk cId="3864166754" sldId="2134806727"/>
        </pc:sldMkLst>
      </pc:sldChg>
      <pc:sldChg chg="del">
        <pc:chgData name="LAISSAOUI, Ghita" userId="ac8a0427-4948-4bf4-bb5c-4b9a41a9bd01" providerId="ADAL" clId="{8C4A23C6-A272-4AE5-87F4-94EB44631B18}" dt="2022-01-31T06:53:30.326" v="7888" actId="47"/>
        <pc:sldMkLst>
          <pc:docMk/>
          <pc:sldMk cId="3960861667" sldId="2134806728"/>
        </pc:sldMkLst>
      </pc:sldChg>
      <pc:sldChg chg="del">
        <pc:chgData name="LAISSAOUI, Ghita" userId="ac8a0427-4948-4bf4-bb5c-4b9a41a9bd01" providerId="ADAL" clId="{8C4A23C6-A272-4AE5-87F4-94EB44631B18}" dt="2022-01-31T06:53:31.060" v="7889" actId="47"/>
        <pc:sldMkLst>
          <pc:docMk/>
          <pc:sldMk cId="2407228201" sldId="2134806729"/>
        </pc:sldMkLst>
      </pc:sldChg>
      <pc:sldChg chg="delSp mod">
        <pc:chgData name="LAISSAOUI, Ghita" userId="ac8a0427-4948-4bf4-bb5c-4b9a41a9bd01" providerId="ADAL" clId="{8C4A23C6-A272-4AE5-87F4-94EB44631B18}" dt="2022-01-31T15:03:35.123" v="9062" actId="478"/>
        <pc:sldMkLst>
          <pc:docMk/>
          <pc:sldMk cId="1834505298" sldId="2134806730"/>
        </pc:sldMkLst>
        <pc:spChg chg="del">
          <ac:chgData name="LAISSAOUI, Ghita" userId="ac8a0427-4948-4bf4-bb5c-4b9a41a9bd01" providerId="ADAL" clId="{8C4A23C6-A272-4AE5-87F4-94EB44631B18}" dt="2022-01-31T15:03:35.123" v="9062" actId="478"/>
          <ac:spMkLst>
            <pc:docMk/>
            <pc:sldMk cId="1834505298" sldId="2134806730"/>
            <ac:spMk id="2" creationId="{83C91004-40D7-41DD-B311-5DD2181CDC63}"/>
          </ac:spMkLst>
        </pc:spChg>
      </pc:sldChg>
      <pc:sldChg chg="delSp mod">
        <pc:chgData name="LAISSAOUI, Ghita" userId="ac8a0427-4948-4bf4-bb5c-4b9a41a9bd01" providerId="ADAL" clId="{8C4A23C6-A272-4AE5-87F4-94EB44631B18}" dt="2022-01-31T15:03:40.578" v="9063" actId="478"/>
        <pc:sldMkLst>
          <pc:docMk/>
          <pc:sldMk cId="272416247" sldId="2134806731"/>
        </pc:sldMkLst>
        <pc:spChg chg="del">
          <ac:chgData name="LAISSAOUI, Ghita" userId="ac8a0427-4948-4bf4-bb5c-4b9a41a9bd01" providerId="ADAL" clId="{8C4A23C6-A272-4AE5-87F4-94EB44631B18}" dt="2022-01-31T15:03:40.578" v="9063" actId="478"/>
          <ac:spMkLst>
            <pc:docMk/>
            <pc:sldMk cId="272416247" sldId="2134806731"/>
            <ac:spMk id="2" creationId="{CDDEA669-0F4D-45FB-B499-45D8B2E89DA5}"/>
          </ac:spMkLst>
        </pc:spChg>
      </pc:sldChg>
      <pc:sldChg chg="delSp mod">
        <pc:chgData name="LAISSAOUI, Ghita" userId="ac8a0427-4948-4bf4-bb5c-4b9a41a9bd01" providerId="ADAL" clId="{8C4A23C6-A272-4AE5-87F4-94EB44631B18}" dt="2022-01-31T15:03:46.125" v="9064" actId="478"/>
        <pc:sldMkLst>
          <pc:docMk/>
          <pc:sldMk cId="4131288217" sldId="2134806732"/>
        </pc:sldMkLst>
        <pc:spChg chg="del">
          <ac:chgData name="LAISSAOUI, Ghita" userId="ac8a0427-4948-4bf4-bb5c-4b9a41a9bd01" providerId="ADAL" clId="{8C4A23C6-A272-4AE5-87F4-94EB44631B18}" dt="2022-01-31T15:03:46.125" v="9064" actId="478"/>
          <ac:spMkLst>
            <pc:docMk/>
            <pc:sldMk cId="4131288217" sldId="2134806732"/>
            <ac:spMk id="2" creationId="{009F26FD-3387-43E6-A6AB-E6297015A1C2}"/>
          </ac:spMkLst>
        </pc:spChg>
      </pc:sldChg>
      <pc:sldChg chg="addSp delSp modSp add mod modNotesTx">
        <pc:chgData name="LAISSAOUI, Ghita" userId="ac8a0427-4948-4bf4-bb5c-4b9a41a9bd01" providerId="ADAL" clId="{8C4A23C6-A272-4AE5-87F4-94EB44631B18}" dt="2022-02-01T08:32:28.588" v="9325" actId="20577"/>
        <pc:sldMkLst>
          <pc:docMk/>
          <pc:sldMk cId="2050342813" sldId="2145706200"/>
        </pc:sldMkLst>
        <pc:spChg chg="add del mod">
          <ac:chgData name="LAISSAOUI, Ghita" userId="ac8a0427-4948-4bf4-bb5c-4b9a41a9bd01" providerId="ADAL" clId="{8C4A23C6-A272-4AE5-87F4-94EB44631B18}" dt="2022-01-31T07:12:46.558" v="8179" actId="20577"/>
          <ac:spMkLst>
            <pc:docMk/>
            <pc:sldMk cId="2050342813" sldId="2145706200"/>
            <ac:spMk id="3" creationId="{5C7E1B46-2756-4F40-9209-8142699B2CEC}"/>
          </ac:spMkLst>
        </pc:spChg>
        <pc:spChg chg="add del mod">
          <ac:chgData name="LAISSAOUI, Ghita" userId="ac8a0427-4948-4bf4-bb5c-4b9a41a9bd01" providerId="ADAL" clId="{8C4A23C6-A272-4AE5-87F4-94EB44631B18}" dt="2022-01-25T09:10:22.455" v="335"/>
          <ac:spMkLst>
            <pc:docMk/>
            <pc:sldMk cId="2050342813" sldId="2145706200"/>
            <ac:spMk id="3" creationId="{A8D17408-5E64-4315-A5AD-B7F2530569DF}"/>
          </ac:spMkLst>
        </pc:spChg>
        <pc:spChg chg="add del mod">
          <ac:chgData name="LAISSAOUI, Ghita" userId="ac8a0427-4948-4bf4-bb5c-4b9a41a9bd01" providerId="ADAL" clId="{8C4A23C6-A272-4AE5-87F4-94EB44631B18}" dt="2022-01-31T06:56:17.965" v="7930"/>
          <ac:spMkLst>
            <pc:docMk/>
            <pc:sldMk cId="2050342813" sldId="2145706200"/>
            <ac:spMk id="4" creationId="{26F81E91-F1B4-4ECC-B303-EE49D181BBEB}"/>
          </ac:spMkLst>
        </pc:spChg>
        <pc:spChg chg="del mod">
          <ac:chgData name="LAISSAOUI, Ghita" userId="ac8a0427-4948-4bf4-bb5c-4b9a41a9bd01" providerId="ADAL" clId="{8C4A23C6-A272-4AE5-87F4-94EB44631B18}" dt="2022-01-25T09:10:19.930" v="334" actId="478"/>
          <ac:spMkLst>
            <pc:docMk/>
            <pc:sldMk cId="2050342813" sldId="2145706200"/>
            <ac:spMk id="4" creationId="{60721E7C-E093-4871-A2D2-871A7D50A6D5}"/>
          </ac:spMkLst>
        </pc:spChg>
        <pc:spChg chg="add del mod">
          <ac:chgData name="LAISSAOUI, Ghita" userId="ac8a0427-4948-4bf4-bb5c-4b9a41a9bd01" providerId="ADAL" clId="{8C4A23C6-A272-4AE5-87F4-94EB44631B18}" dt="2022-01-31T06:56:17.965" v="7930"/>
          <ac:spMkLst>
            <pc:docMk/>
            <pc:sldMk cId="2050342813" sldId="2145706200"/>
            <ac:spMk id="5" creationId="{50FCEC95-0202-4B05-B18E-06DE81D73B8F}"/>
          </ac:spMkLst>
        </pc:spChg>
        <pc:spChg chg="add del mod">
          <ac:chgData name="LAISSAOUI, Ghita" userId="ac8a0427-4948-4bf4-bb5c-4b9a41a9bd01" providerId="ADAL" clId="{8C4A23C6-A272-4AE5-87F4-94EB44631B18}" dt="2022-01-31T06:56:17.965" v="7930"/>
          <ac:spMkLst>
            <pc:docMk/>
            <pc:sldMk cId="2050342813" sldId="2145706200"/>
            <ac:spMk id="6" creationId="{8AA3FDA7-070D-4F82-A6B9-70AD8F07BEC5}"/>
          </ac:spMkLst>
        </pc:spChg>
        <pc:spChg chg="add del mod">
          <ac:chgData name="LAISSAOUI, Ghita" userId="ac8a0427-4948-4bf4-bb5c-4b9a41a9bd01" providerId="ADAL" clId="{8C4A23C6-A272-4AE5-87F4-94EB44631B18}" dt="2022-01-31T06:56:17.965" v="7930"/>
          <ac:spMkLst>
            <pc:docMk/>
            <pc:sldMk cId="2050342813" sldId="2145706200"/>
            <ac:spMk id="7" creationId="{1713EFB7-E5F0-4638-8F3A-11E1BA3AD178}"/>
          </ac:spMkLst>
        </pc:spChg>
        <pc:spChg chg="add del mod">
          <ac:chgData name="LAISSAOUI, Ghita" userId="ac8a0427-4948-4bf4-bb5c-4b9a41a9bd01" providerId="ADAL" clId="{8C4A23C6-A272-4AE5-87F4-94EB44631B18}" dt="2022-01-31T06:56:17.965" v="7930"/>
          <ac:spMkLst>
            <pc:docMk/>
            <pc:sldMk cId="2050342813" sldId="2145706200"/>
            <ac:spMk id="8" creationId="{16E26E51-3EA3-485D-82AA-6209B9D0BFCB}"/>
          </ac:spMkLst>
        </pc:spChg>
        <pc:spChg chg="add mod">
          <ac:chgData name="LAISSAOUI, Ghita" userId="ac8a0427-4948-4bf4-bb5c-4b9a41a9bd01" providerId="ADAL" clId="{8C4A23C6-A272-4AE5-87F4-94EB44631B18}" dt="2022-01-31T06:57:41.617" v="7944"/>
          <ac:spMkLst>
            <pc:docMk/>
            <pc:sldMk cId="2050342813" sldId="2145706200"/>
            <ac:spMk id="9" creationId="{D0EFB216-9E61-475C-A05A-48DDDAEC9D4C}"/>
          </ac:spMkLst>
        </pc:spChg>
        <pc:spChg chg="add mod">
          <ac:chgData name="LAISSAOUI, Ghita" userId="ac8a0427-4948-4bf4-bb5c-4b9a41a9bd01" providerId="ADAL" clId="{8C4A23C6-A272-4AE5-87F4-94EB44631B18}" dt="2022-01-31T07:09:10.988" v="8099" actId="14100"/>
          <ac:spMkLst>
            <pc:docMk/>
            <pc:sldMk cId="2050342813" sldId="2145706200"/>
            <ac:spMk id="10" creationId="{1B95245B-5360-44DA-8526-B062BCDA2222}"/>
          </ac:spMkLst>
        </pc:spChg>
        <pc:spChg chg="add del mod topLvl">
          <ac:chgData name="LAISSAOUI, Ghita" userId="ac8a0427-4948-4bf4-bb5c-4b9a41a9bd01" providerId="ADAL" clId="{8C4A23C6-A272-4AE5-87F4-94EB44631B18}" dt="2022-01-28T16:08:21.626" v="7336" actId="478"/>
          <ac:spMkLst>
            <pc:docMk/>
            <pc:sldMk cId="2050342813" sldId="2145706200"/>
            <ac:spMk id="11" creationId="{298B5F26-B9F0-41CC-8C1A-D9C3C677203F}"/>
          </ac:spMkLst>
        </pc:spChg>
        <pc:spChg chg="add mod">
          <ac:chgData name="LAISSAOUI, Ghita" userId="ac8a0427-4948-4bf4-bb5c-4b9a41a9bd01" providerId="ADAL" clId="{8C4A23C6-A272-4AE5-87F4-94EB44631B18}" dt="2022-01-31T07:09:01.766" v="8097" actId="404"/>
          <ac:spMkLst>
            <pc:docMk/>
            <pc:sldMk cId="2050342813" sldId="2145706200"/>
            <ac:spMk id="11" creationId="{EB405496-A3C5-4189-950E-396083EB5024}"/>
          </ac:spMkLst>
        </pc:spChg>
        <pc:spChg chg="add mod">
          <ac:chgData name="LAISSAOUI, Ghita" userId="ac8a0427-4948-4bf4-bb5c-4b9a41a9bd01" providerId="ADAL" clId="{8C4A23C6-A272-4AE5-87F4-94EB44631B18}" dt="2022-01-31T07:08:38.626" v="8095" actId="1076"/>
          <ac:spMkLst>
            <pc:docMk/>
            <pc:sldMk cId="2050342813" sldId="2145706200"/>
            <ac:spMk id="12" creationId="{D1872E50-A1BE-49BD-AD60-66E214107B37}"/>
          </ac:spMkLst>
        </pc:spChg>
        <pc:spChg chg="add del mod">
          <ac:chgData name="LAISSAOUI, Ghita" userId="ac8a0427-4948-4bf4-bb5c-4b9a41a9bd01" providerId="ADAL" clId="{8C4A23C6-A272-4AE5-87F4-94EB44631B18}" dt="2022-01-31T07:01:24.999" v="8009" actId="478"/>
          <ac:spMkLst>
            <pc:docMk/>
            <pc:sldMk cId="2050342813" sldId="2145706200"/>
            <ac:spMk id="13" creationId="{7E068033-DFDF-4169-949F-18B4625CB0DA}"/>
          </ac:spMkLst>
        </pc:spChg>
        <pc:spChg chg="add mod">
          <ac:chgData name="LAISSAOUI, Ghita" userId="ac8a0427-4948-4bf4-bb5c-4b9a41a9bd01" providerId="ADAL" clId="{8C4A23C6-A272-4AE5-87F4-94EB44631B18}" dt="2022-01-31T07:09:01.766" v="8097" actId="404"/>
          <ac:spMkLst>
            <pc:docMk/>
            <pc:sldMk cId="2050342813" sldId="2145706200"/>
            <ac:spMk id="14" creationId="{6AE20860-76EB-44A9-8786-A4C42614CB2D}"/>
          </ac:spMkLst>
        </pc:spChg>
        <pc:spChg chg="add del">
          <ac:chgData name="LAISSAOUI, Ghita" userId="ac8a0427-4948-4bf4-bb5c-4b9a41a9bd01" providerId="ADAL" clId="{8C4A23C6-A272-4AE5-87F4-94EB44631B18}" dt="2022-01-27T08:57:52.544" v="4165" actId="478"/>
          <ac:spMkLst>
            <pc:docMk/>
            <pc:sldMk cId="2050342813" sldId="2145706200"/>
            <ac:spMk id="21" creationId="{43C2CB56-012E-452B-9902-6D0A7AEB9322}"/>
          </ac:spMkLst>
        </pc:spChg>
        <pc:spChg chg="add del mod">
          <ac:chgData name="LAISSAOUI, Ghita" userId="ac8a0427-4948-4bf4-bb5c-4b9a41a9bd01" providerId="ADAL" clId="{8C4A23C6-A272-4AE5-87F4-94EB44631B18}" dt="2022-01-28T16:08:34.451" v="7340" actId="478"/>
          <ac:spMkLst>
            <pc:docMk/>
            <pc:sldMk cId="2050342813" sldId="2145706200"/>
            <ac:spMk id="26" creationId="{599154D6-11E2-4AA6-AFF3-C5DF2A1C32B3}"/>
          </ac:spMkLst>
        </pc:spChg>
        <pc:spChg chg="add mod">
          <ac:chgData name="LAISSAOUI, Ghita" userId="ac8a0427-4948-4bf4-bb5c-4b9a41a9bd01" providerId="ADAL" clId="{8C4A23C6-A272-4AE5-87F4-94EB44631B18}" dt="2022-01-25T09:10:32.520" v="337"/>
          <ac:spMkLst>
            <pc:docMk/>
            <pc:sldMk cId="2050342813" sldId="2145706200"/>
            <ac:spMk id="27" creationId="{19D7E913-40E6-4F1C-8009-0881FADBB26A}"/>
          </ac:spMkLst>
        </pc:spChg>
        <pc:spChg chg="del mod">
          <ac:chgData name="LAISSAOUI, Ghita" userId="ac8a0427-4948-4bf4-bb5c-4b9a41a9bd01" providerId="ADAL" clId="{8C4A23C6-A272-4AE5-87F4-94EB44631B18}" dt="2022-01-28T16:08:21.626" v="7336" actId="478"/>
          <ac:spMkLst>
            <pc:docMk/>
            <pc:sldMk cId="2050342813" sldId="2145706200"/>
            <ac:spMk id="41" creationId="{49F28045-EF31-4AFD-BBBB-B216F358A841}"/>
          </ac:spMkLst>
        </pc:spChg>
        <pc:spChg chg="del mod">
          <ac:chgData name="LAISSAOUI, Ghita" userId="ac8a0427-4948-4bf4-bb5c-4b9a41a9bd01" providerId="ADAL" clId="{8C4A23C6-A272-4AE5-87F4-94EB44631B18}" dt="2022-01-28T16:08:21.626" v="7336" actId="478"/>
          <ac:spMkLst>
            <pc:docMk/>
            <pc:sldMk cId="2050342813" sldId="2145706200"/>
            <ac:spMk id="42" creationId="{1901D142-D184-4C34-9EBA-CEAD13260BE6}"/>
          </ac:spMkLst>
        </pc:spChg>
        <pc:spChg chg="del mod">
          <ac:chgData name="LAISSAOUI, Ghita" userId="ac8a0427-4948-4bf4-bb5c-4b9a41a9bd01" providerId="ADAL" clId="{8C4A23C6-A272-4AE5-87F4-94EB44631B18}" dt="2022-01-25T09:19:28.267" v="476" actId="478"/>
          <ac:spMkLst>
            <pc:docMk/>
            <pc:sldMk cId="2050342813" sldId="2145706200"/>
            <ac:spMk id="43" creationId="{C49C8F6D-DD86-4C17-8F62-7C38C318BDCE}"/>
          </ac:spMkLst>
        </pc:spChg>
        <pc:spChg chg="del mod">
          <ac:chgData name="LAISSAOUI, Ghita" userId="ac8a0427-4948-4bf4-bb5c-4b9a41a9bd01" providerId="ADAL" clId="{8C4A23C6-A272-4AE5-87F4-94EB44631B18}" dt="2022-01-28T16:08:21.626" v="7336" actId="478"/>
          <ac:spMkLst>
            <pc:docMk/>
            <pc:sldMk cId="2050342813" sldId="2145706200"/>
            <ac:spMk id="44" creationId="{1FBDD91D-AF01-422F-9D67-3550E196C554}"/>
          </ac:spMkLst>
        </pc:spChg>
        <pc:spChg chg="del mod">
          <ac:chgData name="LAISSAOUI, Ghita" userId="ac8a0427-4948-4bf4-bb5c-4b9a41a9bd01" providerId="ADAL" clId="{8C4A23C6-A272-4AE5-87F4-94EB44631B18}" dt="2022-01-25T09:20:05.792" v="484" actId="478"/>
          <ac:spMkLst>
            <pc:docMk/>
            <pc:sldMk cId="2050342813" sldId="2145706200"/>
            <ac:spMk id="45" creationId="{FE30AB59-C615-49EF-A02F-1EF3E3D9F1AF}"/>
          </ac:spMkLst>
        </pc:spChg>
        <pc:spChg chg="del">
          <ac:chgData name="LAISSAOUI, Ghita" userId="ac8a0427-4948-4bf4-bb5c-4b9a41a9bd01" providerId="ADAL" clId="{8C4A23C6-A272-4AE5-87F4-94EB44631B18}" dt="2022-01-25T09:20:11.891" v="486" actId="478"/>
          <ac:spMkLst>
            <pc:docMk/>
            <pc:sldMk cId="2050342813" sldId="2145706200"/>
            <ac:spMk id="77" creationId="{56CEA38C-AB34-49DF-BB1A-34F2DE27A025}"/>
          </ac:spMkLst>
        </pc:spChg>
        <pc:spChg chg="del mod">
          <ac:chgData name="LAISSAOUI, Ghita" userId="ac8a0427-4948-4bf4-bb5c-4b9a41a9bd01" providerId="ADAL" clId="{8C4A23C6-A272-4AE5-87F4-94EB44631B18}" dt="2022-01-28T16:08:21.626" v="7336" actId="478"/>
          <ac:spMkLst>
            <pc:docMk/>
            <pc:sldMk cId="2050342813" sldId="2145706200"/>
            <ac:spMk id="78" creationId="{88D07CE1-0EB6-422C-B4F8-4DB106D430DB}"/>
          </ac:spMkLst>
        </pc:spChg>
        <pc:spChg chg="del mod">
          <ac:chgData name="LAISSAOUI, Ghita" userId="ac8a0427-4948-4bf4-bb5c-4b9a41a9bd01" providerId="ADAL" clId="{8C4A23C6-A272-4AE5-87F4-94EB44631B18}" dt="2022-01-28T16:08:28.433" v="7338" actId="478"/>
          <ac:spMkLst>
            <pc:docMk/>
            <pc:sldMk cId="2050342813" sldId="2145706200"/>
            <ac:spMk id="79" creationId="{365F6897-5205-4C2C-9AE1-AEB579351736}"/>
          </ac:spMkLst>
        </pc:spChg>
        <pc:spChg chg="del mod">
          <ac:chgData name="LAISSAOUI, Ghita" userId="ac8a0427-4948-4bf4-bb5c-4b9a41a9bd01" providerId="ADAL" clId="{8C4A23C6-A272-4AE5-87F4-94EB44631B18}" dt="2022-01-28T16:08:21.626" v="7336" actId="478"/>
          <ac:spMkLst>
            <pc:docMk/>
            <pc:sldMk cId="2050342813" sldId="2145706200"/>
            <ac:spMk id="80" creationId="{1A3F3CFC-F367-4F29-B22F-7C7748AECAA1}"/>
          </ac:spMkLst>
        </pc:spChg>
        <pc:spChg chg="del mod">
          <ac:chgData name="LAISSAOUI, Ghita" userId="ac8a0427-4948-4bf4-bb5c-4b9a41a9bd01" providerId="ADAL" clId="{8C4A23C6-A272-4AE5-87F4-94EB44631B18}" dt="2022-01-25T09:19:36.049" v="480" actId="478"/>
          <ac:spMkLst>
            <pc:docMk/>
            <pc:sldMk cId="2050342813" sldId="2145706200"/>
            <ac:spMk id="81" creationId="{6A063551-D0AD-4FBC-924D-8F6D86531915}"/>
          </ac:spMkLst>
        </pc:spChg>
        <pc:spChg chg="del mod">
          <ac:chgData name="LAISSAOUI, Ghita" userId="ac8a0427-4948-4bf4-bb5c-4b9a41a9bd01" providerId="ADAL" clId="{8C4A23C6-A272-4AE5-87F4-94EB44631B18}" dt="2022-01-28T16:08:21.626" v="7336" actId="478"/>
          <ac:spMkLst>
            <pc:docMk/>
            <pc:sldMk cId="2050342813" sldId="2145706200"/>
            <ac:spMk id="83" creationId="{1FB0C3AA-911B-40B7-B0F8-F1A04FD59EDB}"/>
          </ac:spMkLst>
        </pc:spChg>
        <pc:spChg chg="del mod">
          <ac:chgData name="LAISSAOUI, Ghita" userId="ac8a0427-4948-4bf4-bb5c-4b9a41a9bd01" providerId="ADAL" clId="{8C4A23C6-A272-4AE5-87F4-94EB44631B18}" dt="2022-01-28T16:08:21.626" v="7336" actId="478"/>
          <ac:spMkLst>
            <pc:docMk/>
            <pc:sldMk cId="2050342813" sldId="2145706200"/>
            <ac:spMk id="84" creationId="{2CD16977-DAA2-4075-8008-24A7B2ABC083}"/>
          </ac:spMkLst>
        </pc:spChg>
        <pc:spChg chg="del mod">
          <ac:chgData name="LAISSAOUI, Ghita" userId="ac8a0427-4948-4bf4-bb5c-4b9a41a9bd01" providerId="ADAL" clId="{8C4A23C6-A272-4AE5-87F4-94EB44631B18}" dt="2022-01-28T16:08:21.626" v="7336" actId="478"/>
          <ac:spMkLst>
            <pc:docMk/>
            <pc:sldMk cId="2050342813" sldId="2145706200"/>
            <ac:spMk id="85" creationId="{3454A62C-5EAF-4011-8927-844771AF35D0}"/>
          </ac:spMkLst>
        </pc:spChg>
        <pc:spChg chg="del mod">
          <ac:chgData name="LAISSAOUI, Ghita" userId="ac8a0427-4948-4bf4-bb5c-4b9a41a9bd01" providerId="ADAL" clId="{8C4A23C6-A272-4AE5-87F4-94EB44631B18}" dt="2022-01-25T09:19:31.618" v="478" actId="478"/>
          <ac:spMkLst>
            <pc:docMk/>
            <pc:sldMk cId="2050342813" sldId="2145706200"/>
            <ac:spMk id="88" creationId="{16E6B4AD-029B-4160-9BCD-B9D031C7DCD7}"/>
          </ac:spMkLst>
        </pc:spChg>
        <pc:spChg chg="del mod">
          <ac:chgData name="LAISSAOUI, Ghita" userId="ac8a0427-4948-4bf4-bb5c-4b9a41a9bd01" providerId="ADAL" clId="{8C4A23C6-A272-4AE5-87F4-94EB44631B18}" dt="2022-01-25T09:20:09.174" v="485" actId="478"/>
          <ac:spMkLst>
            <pc:docMk/>
            <pc:sldMk cId="2050342813" sldId="2145706200"/>
            <ac:spMk id="122" creationId="{CB00246B-74F6-43FB-A3A0-3C4D1DE97117}"/>
          </ac:spMkLst>
        </pc:spChg>
        <pc:grpChg chg="add del mod">
          <ac:chgData name="LAISSAOUI, Ghita" userId="ac8a0427-4948-4bf4-bb5c-4b9a41a9bd01" providerId="ADAL" clId="{8C4A23C6-A272-4AE5-87F4-94EB44631B18}" dt="2022-01-27T08:54:54.986" v="4137" actId="165"/>
          <ac:grpSpMkLst>
            <pc:docMk/>
            <pc:sldMk cId="2050342813" sldId="2145706200"/>
            <ac:grpSpMk id="2" creationId="{454ACC71-282A-4D48-A31E-CC8FE5ABB07B}"/>
          </ac:grpSpMkLst>
        </pc:grpChg>
        <pc:grpChg chg="add mod">
          <ac:chgData name="LAISSAOUI, Ghita" userId="ac8a0427-4948-4bf4-bb5c-4b9a41a9bd01" providerId="ADAL" clId="{8C4A23C6-A272-4AE5-87F4-94EB44631B18}" dt="2022-01-27T08:56:40.926" v="4156" actId="164"/>
          <ac:grpSpMkLst>
            <pc:docMk/>
            <pc:sldMk cId="2050342813" sldId="2145706200"/>
            <ac:grpSpMk id="3" creationId="{7C4F88E8-4E51-4754-A7B3-1D7041421149}"/>
          </ac:grpSpMkLst>
        </pc:grpChg>
        <pc:grpChg chg="add mod">
          <ac:chgData name="LAISSAOUI, Ghita" userId="ac8a0427-4948-4bf4-bb5c-4b9a41a9bd01" providerId="ADAL" clId="{8C4A23C6-A272-4AE5-87F4-94EB44631B18}" dt="2022-01-27T08:56:40.404" v="4155" actId="164"/>
          <ac:grpSpMkLst>
            <pc:docMk/>
            <pc:sldMk cId="2050342813" sldId="2145706200"/>
            <ac:grpSpMk id="4" creationId="{7D46515F-00FA-418C-A066-B76C5A30C696}"/>
          </ac:grpSpMkLst>
        </pc:grpChg>
        <pc:picChg chg="add del mod topLvl">
          <ac:chgData name="LAISSAOUI, Ghita" userId="ac8a0427-4948-4bf4-bb5c-4b9a41a9bd01" providerId="ADAL" clId="{8C4A23C6-A272-4AE5-87F4-94EB44631B18}" dt="2022-01-28T16:08:28.433" v="7338" actId="478"/>
          <ac:picMkLst>
            <pc:docMk/>
            <pc:sldMk cId="2050342813" sldId="2145706200"/>
            <ac:picMk id="6" creationId="{6B1E0983-8C27-40E8-B282-3410D6EE7FF8}"/>
          </ac:picMkLst>
        </pc:picChg>
        <pc:picChg chg="add del mod">
          <ac:chgData name="LAISSAOUI, Ghita" userId="ac8a0427-4948-4bf4-bb5c-4b9a41a9bd01" providerId="ADAL" clId="{8C4A23C6-A272-4AE5-87F4-94EB44631B18}" dt="2022-01-28T16:08:21.626" v="7336" actId="478"/>
          <ac:picMkLst>
            <pc:docMk/>
            <pc:sldMk cId="2050342813" sldId="2145706200"/>
            <ac:picMk id="8" creationId="{83999236-3FC9-4007-B072-81D7C5714BC0}"/>
          </ac:picMkLst>
        </pc:picChg>
        <pc:picChg chg="add del mod ord">
          <ac:chgData name="LAISSAOUI, Ghita" userId="ac8a0427-4948-4bf4-bb5c-4b9a41a9bd01" providerId="ADAL" clId="{8C4A23C6-A272-4AE5-87F4-94EB44631B18}" dt="2022-01-28T16:08:21.626" v="7336" actId="478"/>
          <ac:picMkLst>
            <pc:docMk/>
            <pc:sldMk cId="2050342813" sldId="2145706200"/>
            <ac:picMk id="10" creationId="{A13D2B85-B7FD-4695-9A4A-64DA6626D8F3}"/>
          </ac:picMkLst>
        </pc:picChg>
        <pc:picChg chg="add del mod">
          <ac:chgData name="LAISSAOUI, Ghita" userId="ac8a0427-4948-4bf4-bb5c-4b9a41a9bd01" providerId="ADAL" clId="{8C4A23C6-A272-4AE5-87F4-94EB44631B18}" dt="2022-01-28T16:08:21.626" v="7336" actId="478"/>
          <ac:picMkLst>
            <pc:docMk/>
            <pc:sldMk cId="2050342813" sldId="2145706200"/>
            <ac:picMk id="25" creationId="{28046DD4-5A44-429E-83F4-73A75AB9317F}"/>
          </ac:picMkLst>
        </pc:picChg>
        <pc:picChg chg="add del mod">
          <ac:chgData name="LAISSAOUI, Ghita" userId="ac8a0427-4948-4bf4-bb5c-4b9a41a9bd01" providerId="ADAL" clId="{8C4A23C6-A272-4AE5-87F4-94EB44631B18}" dt="2022-01-28T16:08:21.626" v="7336" actId="478"/>
          <ac:picMkLst>
            <pc:docMk/>
            <pc:sldMk cId="2050342813" sldId="2145706200"/>
            <ac:picMk id="28" creationId="{53148686-2A6F-4310-B5C9-4921B50B4045}"/>
          </ac:picMkLst>
        </pc:picChg>
        <pc:picChg chg="add del mod">
          <ac:chgData name="LAISSAOUI, Ghita" userId="ac8a0427-4948-4bf4-bb5c-4b9a41a9bd01" providerId="ADAL" clId="{8C4A23C6-A272-4AE5-87F4-94EB44631B18}" dt="2022-01-27T10:48:43.968" v="4429" actId="478"/>
          <ac:picMkLst>
            <pc:docMk/>
            <pc:sldMk cId="2050342813" sldId="2145706200"/>
            <ac:picMk id="29" creationId="{5A09C59D-C26C-44E7-B657-6FAE1629DBD4}"/>
          </ac:picMkLst>
        </pc:picChg>
        <pc:picChg chg="del mod modCrop">
          <ac:chgData name="LAISSAOUI, Ghita" userId="ac8a0427-4948-4bf4-bb5c-4b9a41a9bd01" providerId="ADAL" clId="{8C4A23C6-A272-4AE5-87F4-94EB44631B18}" dt="2022-01-28T16:08:24.114" v="7337" actId="478"/>
          <ac:picMkLst>
            <pc:docMk/>
            <pc:sldMk cId="2050342813" sldId="2145706200"/>
            <ac:picMk id="48" creationId="{99D0FED5-C84C-4837-BF76-3234896FEF43}"/>
          </ac:picMkLst>
        </pc:picChg>
        <pc:cxnChg chg="del">
          <ac:chgData name="LAISSAOUI, Ghita" userId="ac8a0427-4948-4bf4-bb5c-4b9a41a9bd01" providerId="ADAL" clId="{8C4A23C6-A272-4AE5-87F4-94EB44631B18}" dt="2022-01-25T09:19:38.308" v="481" actId="478"/>
          <ac:cxnSpMkLst>
            <pc:docMk/>
            <pc:sldMk cId="2050342813" sldId="2145706200"/>
            <ac:cxnSpMk id="33" creationId="{E1D7AA35-1016-49D6-B922-888C0B9DA064}"/>
          </ac:cxnSpMkLst>
        </pc:cxnChg>
        <pc:cxnChg chg="del mod">
          <ac:chgData name="LAISSAOUI, Ghita" userId="ac8a0427-4948-4bf4-bb5c-4b9a41a9bd01" providerId="ADAL" clId="{8C4A23C6-A272-4AE5-87F4-94EB44631B18}" dt="2022-01-28T16:08:21.626" v="7336" actId="478"/>
          <ac:cxnSpMkLst>
            <pc:docMk/>
            <pc:sldMk cId="2050342813" sldId="2145706200"/>
            <ac:cxnSpMk id="34" creationId="{F99058A5-E529-4893-90E9-50066E3E8028}"/>
          </ac:cxnSpMkLst>
        </pc:cxnChg>
        <pc:cxnChg chg="del mod">
          <ac:chgData name="LAISSAOUI, Ghita" userId="ac8a0427-4948-4bf4-bb5c-4b9a41a9bd01" providerId="ADAL" clId="{8C4A23C6-A272-4AE5-87F4-94EB44631B18}" dt="2022-01-28T16:08:30.770" v="7339" actId="478"/>
          <ac:cxnSpMkLst>
            <pc:docMk/>
            <pc:sldMk cId="2050342813" sldId="2145706200"/>
            <ac:cxnSpMk id="35" creationId="{21684818-AA7C-4E95-AE0F-3BE1B1F65EED}"/>
          </ac:cxnSpMkLst>
        </pc:cxnChg>
        <pc:cxnChg chg="del mod">
          <ac:chgData name="LAISSAOUI, Ghita" userId="ac8a0427-4948-4bf4-bb5c-4b9a41a9bd01" providerId="ADAL" clId="{8C4A23C6-A272-4AE5-87F4-94EB44631B18}" dt="2022-01-28T16:08:21.626" v="7336" actId="478"/>
          <ac:cxnSpMkLst>
            <pc:docMk/>
            <pc:sldMk cId="2050342813" sldId="2145706200"/>
            <ac:cxnSpMk id="36" creationId="{B95465FA-DA70-48CC-9E38-8A347885F52B}"/>
          </ac:cxnSpMkLst>
        </pc:cxnChg>
        <pc:cxnChg chg="del mod">
          <ac:chgData name="LAISSAOUI, Ghita" userId="ac8a0427-4948-4bf4-bb5c-4b9a41a9bd01" providerId="ADAL" clId="{8C4A23C6-A272-4AE5-87F4-94EB44631B18}" dt="2022-01-25T09:20:14.323" v="488" actId="478"/>
          <ac:cxnSpMkLst>
            <pc:docMk/>
            <pc:sldMk cId="2050342813" sldId="2145706200"/>
            <ac:cxnSpMk id="37" creationId="{6B252309-8992-47FD-9FE9-78E51032A540}"/>
          </ac:cxnSpMkLst>
        </pc:cxnChg>
      </pc:sldChg>
      <pc:sldChg chg="addSp delSp modSp add mod modNotesTx">
        <pc:chgData name="LAISSAOUI, Ghita" userId="ac8a0427-4948-4bf4-bb5c-4b9a41a9bd01" providerId="ADAL" clId="{8C4A23C6-A272-4AE5-87F4-94EB44631B18}" dt="2022-01-27T16:35:07.775" v="6490" actId="404"/>
        <pc:sldMkLst>
          <pc:docMk/>
          <pc:sldMk cId="3024905232" sldId="2145706261"/>
        </pc:sldMkLst>
        <pc:spChg chg="mod">
          <ac:chgData name="LAISSAOUI, Ghita" userId="ac8a0427-4948-4bf4-bb5c-4b9a41a9bd01" providerId="ADAL" clId="{8C4A23C6-A272-4AE5-87F4-94EB44631B18}" dt="2022-01-27T13:55:41.782" v="4928" actId="20577"/>
          <ac:spMkLst>
            <pc:docMk/>
            <pc:sldMk cId="3024905232" sldId="2145706261"/>
            <ac:spMk id="4" creationId="{60721E7C-E093-4871-A2D2-871A7D50A6D5}"/>
          </ac:spMkLst>
        </pc:spChg>
        <pc:spChg chg="add mod ord">
          <ac:chgData name="LAISSAOUI, Ghita" userId="ac8a0427-4948-4bf4-bb5c-4b9a41a9bd01" providerId="ADAL" clId="{8C4A23C6-A272-4AE5-87F4-94EB44631B18}" dt="2022-01-27T15:13:40.838" v="5463" actId="1076"/>
          <ac:spMkLst>
            <pc:docMk/>
            <pc:sldMk cId="3024905232" sldId="2145706261"/>
            <ac:spMk id="9" creationId="{6FCFE936-6D7C-4C3C-AD5A-84E4A1665D6C}"/>
          </ac:spMkLst>
        </pc:spChg>
        <pc:spChg chg="add mod">
          <ac:chgData name="LAISSAOUI, Ghita" userId="ac8a0427-4948-4bf4-bb5c-4b9a41a9bd01" providerId="ADAL" clId="{8C4A23C6-A272-4AE5-87F4-94EB44631B18}" dt="2022-01-25T10:39:21.832" v="1587"/>
          <ac:spMkLst>
            <pc:docMk/>
            <pc:sldMk cId="3024905232" sldId="2145706261"/>
            <ac:spMk id="31" creationId="{545E76E4-F960-4AD3-B1A0-F9BDDF9EADC7}"/>
          </ac:spMkLst>
        </pc:spChg>
        <pc:spChg chg="del mod">
          <ac:chgData name="LAISSAOUI, Ghita" userId="ac8a0427-4948-4bf4-bb5c-4b9a41a9bd01" providerId="ADAL" clId="{8C4A23C6-A272-4AE5-87F4-94EB44631B18}" dt="2022-01-27T13:51:58.333" v="4911" actId="478"/>
          <ac:spMkLst>
            <pc:docMk/>
            <pc:sldMk cId="3024905232" sldId="2145706261"/>
            <ac:spMk id="32" creationId="{506FBA09-5E0E-4AD0-B06F-1F6048AB2A34}"/>
          </ac:spMkLst>
        </pc:spChg>
        <pc:spChg chg="add mod">
          <ac:chgData name="LAISSAOUI, Ghita" userId="ac8a0427-4948-4bf4-bb5c-4b9a41a9bd01" providerId="ADAL" clId="{8C4A23C6-A272-4AE5-87F4-94EB44631B18}" dt="2022-01-27T13:55:35.682" v="4922" actId="1076"/>
          <ac:spMkLst>
            <pc:docMk/>
            <pc:sldMk cId="3024905232" sldId="2145706261"/>
            <ac:spMk id="37" creationId="{B33B60C3-7C65-4163-8985-A09AA9030FC4}"/>
          </ac:spMkLst>
        </pc:spChg>
        <pc:spChg chg="add mod ord">
          <ac:chgData name="LAISSAOUI, Ghita" userId="ac8a0427-4948-4bf4-bb5c-4b9a41a9bd01" providerId="ADAL" clId="{8C4A23C6-A272-4AE5-87F4-94EB44631B18}" dt="2022-01-27T16:35:07.775" v="6490" actId="404"/>
          <ac:spMkLst>
            <pc:docMk/>
            <pc:sldMk cId="3024905232" sldId="2145706261"/>
            <ac:spMk id="38" creationId="{EC2BCB34-2C6F-4459-861E-5A73A24756BD}"/>
          </ac:spMkLst>
        </pc:spChg>
        <pc:spChg chg="add mod ord">
          <ac:chgData name="LAISSAOUI, Ghita" userId="ac8a0427-4948-4bf4-bb5c-4b9a41a9bd01" providerId="ADAL" clId="{8C4A23C6-A272-4AE5-87F4-94EB44631B18}" dt="2022-01-27T15:13:34.535" v="5462" actId="1076"/>
          <ac:spMkLst>
            <pc:docMk/>
            <pc:sldMk cId="3024905232" sldId="2145706261"/>
            <ac:spMk id="40" creationId="{E16FD502-411D-4B67-8235-AD8BDA4A0056}"/>
          </ac:spMkLst>
        </pc:spChg>
        <pc:spChg chg="add mod ord">
          <ac:chgData name="LAISSAOUI, Ghita" userId="ac8a0427-4948-4bf4-bb5c-4b9a41a9bd01" providerId="ADAL" clId="{8C4A23C6-A272-4AE5-87F4-94EB44631B18}" dt="2022-01-27T15:13:03.479" v="5454" actId="167"/>
          <ac:spMkLst>
            <pc:docMk/>
            <pc:sldMk cId="3024905232" sldId="2145706261"/>
            <ac:spMk id="41" creationId="{2A5F8664-B954-4544-8D55-1A7AD9BFFF93}"/>
          </ac:spMkLst>
        </pc:spChg>
        <pc:spChg chg="add del mod">
          <ac:chgData name="LAISSAOUI, Ghita" userId="ac8a0427-4948-4bf4-bb5c-4b9a41a9bd01" providerId="ADAL" clId="{8C4A23C6-A272-4AE5-87F4-94EB44631B18}" dt="2022-01-27T16:21:04.124" v="6210" actId="478"/>
          <ac:spMkLst>
            <pc:docMk/>
            <pc:sldMk cId="3024905232" sldId="2145706261"/>
            <ac:spMk id="42" creationId="{0D9DBC08-7EEE-4E7F-BF11-4AA5B8AD9A41}"/>
          </ac:spMkLst>
        </pc:spChg>
        <pc:spChg chg="mod">
          <ac:chgData name="LAISSAOUI, Ghita" userId="ac8a0427-4948-4bf4-bb5c-4b9a41a9bd01" providerId="ADAL" clId="{8C4A23C6-A272-4AE5-87F4-94EB44631B18}" dt="2022-01-25T13:35:21.422" v="2158" actId="207"/>
          <ac:spMkLst>
            <pc:docMk/>
            <pc:sldMk cId="3024905232" sldId="2145706261"/>
            <ac:spMk id="52" creationId="{4095741B-9CC5-4787-884D-801155903967}"/>
          </ac:spMkLst>
        </pc:spChg>
        <pc:spChg chg="mod">
          <ac:chgData name="LAISSAOUI, Ghita" userId="ac8a0427-4948-4bf4-bb5c-4b9a41a9bd01" providerId="ADAL" clId="{8C4A23C6-A272-4AE5-87F4-94EB44631B18}" dt="2022-01-25T13:35:21.422" v="2158" actId="207"/>
          <ac:spMkLst>
            <pc:docMk/>
            <pc:sldMk cId="3024905232" sldId="2145706261"/>
            <ac:spMk id="55" creationId="{E94EB507-59D5-401B-83CE-70C17D01BF45}"/>
          </ac:spMkLst>
        </pc:spChg>
        <pc:spChg chg="mod">
          <ac:chgData name="LAISSAOUI, Ghita" userId="ac8a0427-4948-4bf4-bb5c-4b9a41a9bd01" providerId="ADAL" clId="{8C4A23C6-A272-4AE5-87F4-94EB44631B18}" dt="2022-01-25T13:35:21.422" v="2158" actId="207"/>
          <ac:spMkLst>
            <pc:docMk/>
            <pc:sldMk cId="3024905232" sldId="2145706261"/>
            <ac:spMk id="56" creationId="{A724392A-144F-4CB8-A70F-172572109078}"/>
          </ac:spMkLst>
        </pc:spChg>
        <pc:spChg chg="mod">
          <ac:chgData name="LAISSAOUI, Ghita" userId="ac8a0427-4948-4bf4-bb5c-4b9a41a9bd01" providerId="ADAL" clId="{8C4A23C6-A272-4AE5-87F4-94EB44631B18}" dt="2022-01-25T13:35:21.422" v="2158" actId="207"/>
          <ac:spMkLst>
            <pc:docMk/>
            <pc:sldMk cId="3024905232" sldId="2145706261"/>
            <ac:spMk id="71" creationId="{B56407EB-5850-4CEB-B3DA-F3A850137A15}"/>
          </ac:spMkLst>
        </pc:spChg>
        <pc:spChg chg="mod">
          <ac:chgData name="LAISSAOUI, Ghita" userId="ac8a0427-4948-4bf4-bb5c-4b9a41a9bd01" providerId="ADAL" clId="{8C4A23C6-A272-4AE5-87F4-94EB44631B18}" dt="2022-01-25T13:35:21.422" v="2158" actId="207"/>
          <ac:spMkLst>
            <pc:docMk/>
            <pc:sldMk cId="3024905232" sldId="2145706261"/>
            <ac:spMk id="74" creationId="{8B3BDB8B-D098-4F4A-AC3D-473E29AFAA4E}"/>
          </ac:spMkLst>
        </pc:spChg>
        <pc:spChg chg="mod">
          <ac:chgData name="LAISSAOUI, Ghita" userId="ac8a0427-4948-4bf4-bb5c-4b9a41a9bd01" providerId="ADAL" clId="{8C4A23C6-A272-4AE5-87F4-94EB44631B18}" dt="2022-01-25T13:35:21.422" v="2158" actId="207"/>
          <ac:spMkLst>
            <pc:docMk/>
            <pc:sldMk cId="3024905232" sldId="2145706261"/>
            <ac:spMk id="75" creationId="{44DCB44E-9D81-495F-B4D7-D86C0A82BF16}"/>
          </ac:spMkLst>
        </pc:spChg>
        <pc:spChg chg="mod">
          <ac:chgData name="LAISSAOUI, Ghita" userId="ac8a0427-4948-4bf4-bb5c-4b9a41a9bd01" providerId="ADAL" clId="{8C4A23C6-A272-4AE5-87F4-94EB44631B18}" dt="2022-01-25T13:35:21.422" v="2158" actId="207"/>
          <ac:spMkLst>
            <pc:docMk/>
            <pc:sldMk cId="3024905232" sldId="2145706261"/>
            <ac:spMk id="76" creationId="{D2F47129-E6E5-4D87-B2C2-D46271BA1694}"/>
          </ac:spMkLst>
        </pc:spChg>
        <pc:spChg chg="mod">
          <ac:chgData name="LAISSAOUI, Ghita" userId="ac8a0427-4948-4bf4-bb5c-4b9a41a9bd01" providerId="ADAL" clId="{8C4A23C6-A272-4AE5-87F4-94EB44631B18}" dt="2022-01-25T13:35:21.422" v="2158" actId="207"/>
          <ac:spMkLst>
            <pc:docMk/>
            <pc:sldMk cId="3024905232" sldId="2145706261"/>
            <ac:spMk id="79" creationId="{A81E24E5-C14E-4CB4-A527-B1876A6B8923}"/>
          </ac:spMkLst>
        </pc:spChg>
        <pc:spChg chg="mod">
          <ac:chgData name="LAISSAOUI, Ghita" userId="ac8a0427-4948-4bf4-bb5c-4b9a41a9bd01" providerId="ADAL" clId="{8C4A23C6-A272-4AE5-87F4-94EB44631B18}" dt="2022-01-25T13:35:21.422" v="2158" actId="207"/>
          <ac:spMkLst>
            <pc:docMk/>
            <pc:sldMk cId="3024905232" sldId="2145706261"/>
            <ac:spMk id="80" creationId="{104806DA-593B-4AA3-9C3F-51B5D6244ABA}"/>
          </ac:spMkLst>
        </pc:spChg>
        <pc:spChg chg="mod">
          <ac:chgData name="LAISSAOUI, Ghita" userId="ac8a0427-4948-4bf4-bb5c-4b9a41a9bd01" providerId="ADAL" clId="{8C4A23C6-A272-4AE5-87F4-94EB44631B18}" dt="2022-01-25T13:35:21.422" v="2158" actId="207"/>
          <ac:spMkLst>
            <pc:docMk/>
            <pc:sldMk cId="3024905232" sldId="2145706261"/>
            <ac:spMk id="81" creationId="{784677B9-170F-4AEB-8B5F-29A9602EA74E}"/>
          </ac:spMkLst>
        </pc:spChg>
        <pc:spChg chg="mod">
          <ac:chgData name="LAISSAOUI, Ghita" userId="ac8a0427-4948-4bf4-bb5c-4b9a41a9bd01" providerId="ADAL" clId="{8C4A23C6-A272-4AE5-87F4-94EB44631B18}" dt="2022-01-25T13:35:21.422" v="2158" actId="207"/>
          <ac:spMkLst>
            <pc:docMk/>
            <pc:sldMk cId="3024905232" sldId="2145706261"/>
            <ac:spMk id="84" creationId="{DD2687B6-8C24-4E5E-B11C-B21C50F410BB}"/>
          </ac:spMkLst>
        </pc:spChg>
        <pc:spChg chg="mod">
          <ac:chgData name="LAISSAOUI, Ghita" userId="ac8a0427-4948-4bf4-bb5c-4b9a41a9bd01" providerId="ADAL" clId="{8C4A23C6-A272-4AE5-87F4-94EB44631B18}" dt="2022-01-25T13:35:21.422" v="2158" actId="207"/>
          <ac:spMkLst>
            <pc:docMk/>
            <pc:sldMk cId="3024905232" sldId="2145706261"/>
            <ac:spMk id="85" creationId="{ABFB84D2-848D-4D80-9699-A5BACA5E5BE6}"/>
          </ac:spMkLst>
        </pc:spChg>
        <pc:spChg chg="mod">
          <ac:chgData name="LAISSAOUI, Ghita" userId="ac8a0427-4948-4bf4-bb5c-4b9a41a9bd01" providerId="ADAL" clId="{8C4A23C6-A272-4AE5-87F4-94EB44631B18}" dt="2022-01-25T13:35:21.422" v="2158" actId="207"/>
          <ac:spMkLst>
            <pc:docMk/>
            <pc:sldMk cId="3024905232" sldId="2145706261"/>
            <ac:spMk id="86" creationId="{B002F6C0-43A0-4A1F-99CE-37CF4B91F291}"/>
          </ac:spMkLst>
        </pc:spChg>
        <pc:spChg chg="mod">
          <ac:chgData name="LAISSAOUI, Ghita" userId="ac8a0427-4948-4bf4-bb5c-4b9a41a9bd01" providerId="ADAL" clId="{8C4A23C6-A272-4AE5-87F4-94EB44631B18}" dt="2022-01-25T13:35:21.422" v="2158" actId="207"/>
          <ac:spMkLst>
            <pc:docMk/>
            <pc:sldMk cId="3024905232" sldId="2145706261"/>
            <ac:spMk id="89" creationId="{551A2F67-571F-4D7A-AC06-758EC887CBD2}"/>
          </ac:spMkLst>
        </pc:spChg>
        <pc:spChg chg="mod">
          <ac:chgData name="LAISSAOUI, Ghita" userId="ac8a0427-4948-4bf4-bb5c-4b9a41a9bd01" providerId="ADAL" clId="{8C4A23C6-A272-4AE5-87F4-94EB44631B18}" dt="2022-01-25T13:35:21.422" v="2158" actId="207"/>
          <ac:spMkLst>
            <pc:docMk/>
            <pc:sldMk cId="3024905232" sldId="2145706261"/>
            <ac:spMk id="90" creationId="{267EE39A-2DFF-4F39-B470-A7513582FF0C}"/>
          </ac:spMkLst>
        </pc:spChg>
        <pc:spChg chg="mod">
          <ac:chgData name="LAISSAOUI, Ghita" userId="ac8a0427-4948-4bf4-bb5c-4b9a41a9bd01" providerId="ADAL" clId="{8C4A23C6-A272-4AE5-87F4-94EB44631B18}" dt="2022-01-25T13:35:21.422" v="2158" actId="207"/>
          <ac:spMkLst>
            <pc:docMk/>
            <pc:sldMk cId="3024905232" sldId="2145706261"/>
            <ac:spMk id="91" creationId="{12FD1BC2-EC84-45D6-8B77-4F8CB08C6AB9}"/>
          </ac:spMkLst>
        </pc:spChg>
        <pc:spChg chg="mod">
          <ac:chgData name="LAISSAOUI, Ghita" userId="ac8a0427-4948-4bf4-bb5c-4b9a41a9bd01" providerId="ADAL" clId="{8C4A23C6-A272-4AE5-87F4-94EB44631B18}" dt="2022-01-25T13:35:21.422" v="2158" actId="207"/>
          <ac:spMkLst>
            <pc:docMk/>
            <pc:sldMk cId="3024905232" sldId="2145706261"/>
            <ac:spMk id="92" creationId="{7E921128-3E2C-43A0-87A6-EFF822422379}"/>
          </ac:spMkLst>
        </pc:spChg>
        <pc:spChg chg="mod">
          <ac:chgData name="LAISSAOUI, Ghita" userId="ac8a0427-4948-4bf4-bb5c-4b9a41a9bd01" providerId="ADAL" clId="{8C4A23C6-A272-4AE5-87F4-94EB44631B18}" dt="2022-01-25T13:35:21.422" v="2158" actId="207"/>
          <ac:spMkLst>
            <pc:docMk/>
            <pc:sldMk cId="3024905232" sldId="2145706261"/>
            <ac:spMk id="93" creationId="{CA1FD3BF-68F2-42FE-A9C0-745068092CA2}"/>
          </ac:spMkLst>
        </pc:spChg>
        <pc:spChg chg="mod">
          <ac:chgData name="LAISSAOUI, Ghita" userId="ac8a0427-4948-4bf4-bb5c-4b9a41a9bd01" providerId="ADAL" clId="{8C4A23C6-A272-4AE5-87F4-94EB44631B18}" dt="2022-01-25T13:35:21.422" v="2158" actId="207"/>
          <ac:spMkLst>
            <pc:docMk/>
            <pc:sldMk cId="3024905232" sldId="2145706261"/>
            <ac:spMk id="94" creationId="{8ADD52BA-7569-40DD-91EB-85B6C10B596E}"/>
          </ac:spMkLst>
        </pc:spChg>
        <pc:spChg chg="mod">
          <ac:chgData name="LAISSAOUI, Ghita" userId="ac8a0427-4948-4bf4-bb5c-4b9a41a9bd01" providerId="ADAL" clId="{8C4A23C6-A272-4AE5-87F4-94EB44631B18}" dt="2022-01-25T13:35:21.422" v="2158" actId="207"/>
          <ac:spMkLst>
            <pc:docMk/>
            <pc:sldMk cId="3024905232" sldId="2145706261"/>
            <ac:spMk id="95" creationId="{D4A3492E-BF38-4E30-886C-0DE7FDF7CEC2}"/>
          </ac:spMkLst>
        </pc:spChg>
        <pc:grpChg chg="del mod">
          <ac:chgData name="LAISSAOUI, Ghita" userId="ac8a0427-4948-4bf4-bb5c-4b9a41a9bd01" providerId="ADAL" clId="{8C4A23C6-A272-4AE5-87F4-94EB44631B18}" dt="2022-01-27T13:52:04.775" v="4912" actId="478"/>
          <ac:grpSpMkLst>
            <pc:docMk/>
            <pc:sldMk cId="3024905232" sldId="2145706261"/>
            <ac:grpSpMk id="2" creationId="{01D9FA65-633F-432D-B54E-E7E571F36939}"/>
          </ac:grpSpMkLst>
        </pc:grpChg>
        <pc:picChg chg="add mod">
          <ac:chgData name="LAISSAOUI, Ghita" userId="ac8a0427-4948-4bf4-bb5c-4b9a41a9bd01" providerId="ADAL" clId="{8C4A23C6-A272-4AE5-87F4-94EB44631B18}" dt="2022-01-27T15:13:55.959" v="5465" actId="1440"/>
          <ac:picMkLst>
            <pc:docMk/>
            <pc:sldMk cId="3024905232" sldId="2145706261"/>
            <ac:picMk id="6" creationId="{476AE115-9FE6-4BBD-9B5B-A5834E3D23E7}"/>
          </ac:picMkLst>
        </pc:picChg>
        <pc:picChg chg="add mod ord modCrop">
          <ac:chgData name="LAISSAOUI, Ghita" userId="ac8a0427-4948-4bf4-bb5c-4b9a41a9bd01" providerId="ADAL" clId="{8C4A23C6-A272-4AE5-87F4-94EB44631B18}" dt="2022-01-27T16:03:59.219" v="6026" actId="167"/>
          <ac:picMkLst>
            <pc:docMk/>
            <pc:sldMk cId="3024905232" sldId="2145706261"/>
            <ac:picMk id="8" creationId="{54B580C2-6D97-40AA-8DAB-52DC713A4BD2}"/>
          </ac:picMkLst>
        </pc:picChg>
        <pc:picChg chg="add del mod">
          <ac:chgData name="LAISSAOUI, Ghita" userId="ac8a0427-4948-4bf4-bb5c-4b9a41a9bd01" providerId="ADAL" clId="{8C4A23C6-A272-4AE5-87F4-94EB44631B18}" dt="2022-01-25T10:32:59.847" v="1563" actId="478"/>
          <ac:picMkLst>
            <pc:docMk/>
            <pc:sldMk cId="3024905232" sldId="2145706261"/>
            <ac:picMk id="30" creationId="{D45ADDBE-3367-4838-8B18-64312DF0B8FF}"/>
          </ac:picMkLst>
        </pc:picChg>
        <pc:picChg chg="add del mod">
          <ac:chgData name="LAISSAOUI, Ghita" userId="ac8a0427-4948-4bf4-bb5c-4b9a41a9bd01" providerId="ADAL" clId="{8C4A23C6-A272-4AE5-87F4-94EB44631B18}" dt="2022-01-27T13:51:51.565" v="4910" actId="478"/>
          <ac:picMkLst>
            <pc:docMk/>
            <pc:sldMk cId="3024905232" sldId="2145706261"/>
            <ac:picMk id="33" creationId="{EC667DA2-797A-4E54-A200-9D8E6DD27C0F}"/>
          </ac:picMkLst>
        </pc:picChg>
        <pc:cxnChg chg="mod">
          <ac:chgData name="LAISSAOUI, Ghita" userId="ac8a0427-4948-4bf4-bb5c-4b9a41a9bd01" providerId="ADAL" clId="{8C4A23C6-A272-4AE5-87F4-94EB44631B18}" dt="2022-01-25T13:35:21.422" v="2158" actId="207"/>
          <ac:cxnSpMkLst>
            <pc:docMk/>
            <pc:sldMk cId="3024905232" sldId="2145706261"/>
            <ac:cxnSpMk id="3" creationId="{188D3713-7709-4F80-B94E-73F0B85F8D6F}"/>
          </ac:cxnSpMkLst>
        </pc:cxnChg>
        <pc:cxnChg chg="mod">
          <ac:chgData name="LAISSAOUI, Ghita" userId="ac8a0427-4948-4bf4-bb5c-4b9a41a9bd01" providerId="ADAL" clId="{8C4A23C6-A272-4AE5-87F4-94EB44631B18}" dt="2022-01-25T13:35:21.422" v="2158" actId="207"/>
          <ac:cxnSpMkLst>
            <pc:docMk/>
            <pc:sldMk cId="3024905232" sldId="2145706261"/>
            <ac:cxnSpMk id="54" creationId="{5006E4AD-95A7-4459-A9F1-F6D3CF1B3182}"/>
          </ac:cxnSpMkLst>
        </pc:cxnChg>
        <pc:cxnChg chg="mod">
          <ac:chgData name="LAISSAOUI, Ghita" userId="ac8a0427-4948-4bf4-bb5c-4b9a41a9bd01" providerId="ADAL" clId="{8C4A23C6-A272-4AE5-87F4-94EB44631B18}" dt="2022-01-25T13:35:21.422" v="2158" actId="207"/>
          <ac:cxnSpMkLst>
            <pc:docMk/>
            <pc:sldMk cId="3024905232" sldId="2145706261"/>
            <ac:cxnSpMk id="73" creationId="{2ED5ED44-2112-49C6-9FBC-0BCEBC10E8B3}"/>
          </ac:cxnSpMkLst>
        </pc:cxnChg>
        <pc:cxnChg chg="mod">
          <ac:chgData name="LAISSAOUI, Ghita" userId="ac8a0427-4948-4bf4-bb5c-4b9a41a9bd01" providerId="ADAL" clId="{8C4A23C6-A272-4AE5-87F4-94EB44631B18}" dt="2022-01-25T13:35:21.422" v="2158" actId="207"/>
          <ac:cxnSpMkLst>
            <pc:docMk/>
            <pc:sldMk cId="3024905232" sldId="2145706261"/>
            <ac:cxnSpMk id="78" creationId="{6C772639-0D04-44E1-8BB0-D9893724BB30}"/>
          </ac:cxnSpMkLst>
        </pc:cxnChg>
        <pc:cxnChg chg="mod">
          <ac:chgData name="LAISSAOUI, Ghita" userId="ac8a0427-4948-4bf4-bb5c-4b9a41a9bd01" providerId="ADAL" clId="{8C4A23C6-A272-4AE5-87F4-94EB44631B18}" dt="2022-01-25T13:35:21.422" v="2158" actId="207"/>
          <ac:cxnSpMkLst>
            <pc:docMk/>
            <pc:sldMk cId="3024905232" sldId="2145706261"/>
            <ac:cxnSpMk id="83" creationId="{3707C392-C5A4-4544-9BA3-A8FD17F14DB5}"/>
          </ac:cxnSpMkLst>
        </pc:cxnChg>
        <pc:cxnChg chg="mod">
          <ac:chgData name="LAISSAOUI, Ghita" userId="ac8a0427-4948-4bf4-bb5c-4b9a41a9bd01" providerId="ADAL" clId="{8C4A23C6-A272-4AE5-87F4-94EB44631B18}" dt="2022-01-25T13:35:21.422" v="2158" actId="207"/>
          <ac:cxnSpMkLst>
            <pc:docMk/>
            <pc:sldMk cId="3024905232" sldId="2145706261"/>
            <ac:cxnSpMk id="88" creationId="{17EA1115-080D-4C73-B849-5CD54B64A9D2}"/>
          </ac:cxnSpMkLst>
        </pc:cxnChg>
      </pc:sldChg>
      <pc:sldChg chg="addSp delSp modSp add del mod modNotesTx">
        <pc:chgData name="LAISSAOUI, Ghita" userId="ac8a0427-4948-4bf4-bb5c-4b9a41a9bd01" providerId="ADAL" clId="{8C4A23C6-A272-4AE5-87F4-94EB44631B18}" dt="2022-01-31T07:22:45.458" v="8287" actId="47"/>
        <pc:sldMkLst>
          <pc:docMk/>
          <pc:sldMk cId="3054378931" sldId="2145706266"/>
        </pc:sldMkLst>
        <pc:spChg chg="del mod">
          <ac:chgData name="LAISSAOUI, Ghita" userId="ac8a0427-4948-4bf4-bb5c-4b9a41a9bd01" providerId="ADAL" clId="{8C4A23C6-A272-4AE5-87F4-94EB44631B18}" dt="2022-01-31T07:19:29.865" v="8259" actId="478"/>
          <ac:spMkLst>
            <pc:docMk/>
            <pc:sldMk cId="3054378931" sldId="2145706266"/>
            <ac:spMk id="2" creationId="{B8F5A51F-F463-41AD-ACB9-A64F60C3F59A}"/>
          </ac:spMkLst>
        </pc:spChg>
        <pc:spChg chg="add del mod">
          <ac:chgData name="LAISSAOUI, Ghita" userId="ac8a0427-4948-4bf4-bb5c-4b9a41a9bd01" providerId="ADAL" clId="{8C4A23C6-A272-4AE5-87F4-94EB44631B18}" dt="2022-01-31T07:19:31.642" v="8260" actId="478"/>
          <ac:spMkLst>
            <pc:docMk/>
            <pc:sldMk cId="3054378931" sldId="2145706266"/>
            <ac:spMk id="4" creationId="{0ABE64D6-EC31-4B4C-89D1-F7013F1F91FA}"/>
          </ac:spMkLst>
        </pc:spChg>
        <pc:spChg chg="add mod">
          <ac:chgData name="LAISSAOUI, Ghita" userId="ac8a0427-4948-4bf4-bb5c-4b9a41a9bd01" providerId="ADAL" clId="{8C4A23C6-A272-4AE5-87F4-94EB44631B18}" dt="2022-01-31T07:19:48.349" v="8263"/>
          <ac:spMkLst>
            <pc:docMk/>
            <pc:sldMk cId="3054378931" sldId="2145706266"/>
            <ac:spMk id="25" creationId="{E2BADF49-A3E3-41FB-B4B9-327CC695D4C3}"/>
          </ac:spMkLst>
        </pc:spChg>
        <pc:spChg chg="add mod">
          <ac:chgData name="LAISSAOUI, Ghita" userId="ac8a0427-4948-4bf4-bb5c-4b9a41a9bd01" providerId="ADAL" clId="{8C4A23C6-A272-4AE5-87F4-94EB44631B18}" dt="2022-01-31T07:19:48.349" v="8263"/>
          <ac:spMkLst>
            <pc:docMk/>
            <pc:sldMk cId="3054378931" sldId="2145706266"/>
            <ac:spMk id="26" creationId="{C5CDEAC6-939B-4A9A-8221-155B213497BB}"/>
          </ac:spMkLst>
        </pc:spChg>
        <pc:spChg chg="add mod">
          <ac:chgData name="LAISSAOUI, Ghita" userId="ac8a0427-4948-4bf4-bb5c-4b9a41a9bd01" providerId="ADAL" clId="{8C4A23C6-A272-4AE5-87F4-94EB44631B18}" dt="2022-01-31T07:19:48.349" v="8263"/>
          <ac:spMkLst>
            <pc:docMk/>
            <pc:sldMk cId="3054378931" sldId="2145706266"/>
            <ac:spMk id="27" creationId="{4337F3D1-D9F5-4F8A-AF4B-BFF1635CB8CF}"/>
          </ac:spMkLst>
        </pc:spChg>
        <pc:spChg chg="add del">
          <ac:chgData name="LAISSAOUI, Ghita" userId="ac8a0427-4948-4bf4-bb5c-4b9a41a9bd01" providerId="ADAL" clId="{8C4A23C6-A272-4AE5-87F4-94EB44631B18}" dt="2022-01-31T07:21:27.902" v="8275" actId="22"/>
          <ac:spMkLst>
            <pc:docMk/>
            <pc:sldMk cId="3054378931" sldId="2145706266"/>
            <ac:spMk id="29" creationId="{C3C84F2E-3E35-4D27-BE78-6CB79FB4B2B1}"/>
          </ac:spMkLst>
        </pc:spChg>
      </pc:sldChg>
      <pc:sldChg chg="addSp delSp modSp add mod ord modNotesTx">
        <pc:chgData name="LAISSAOUI, Ghita" userId="ac8a0427-4948-4bf4-bb5c-4b9a41a9bd01" providerId="ADAL" clId="{8C4A23C6-A272-4AE5-87F4-94EB44631B18}" dt="2022-02-01T16:06:40.462" v="9763" actId="478"/>
        <pc:sldMkLst>
          <pc:docMk/>
          <pc:sldMk cId="585301086" sldId="2145706328"/>
        </pc:sldMkLst>
        <pc:spChg chg="mod">
          <ac:chgData name="LAISSAOUI, Ghita" userId="ac8a0427-4948-4bf4-bb5c-4b9a41a9bd01" providerId="ADAL" clId="{8C4A23C6-A272-4AE5-87F4-94EB44631B18}" dt="2022-01-27T16:00:41.459" v="5878" actId="313"/>
          <ac:spMkLst>
            <pc:docMk/>
            <pc:sldMk cId="585301086" sldId="2145706328"/>
            <ac:spMk id="2" creationId="{79289E0E-8C70-4DB6-A997-36038E4B581E}"/>
          </ac:spMkLst>
        </pc:spChg>
        <pc:spChg chg="mod">
          <ac:chgData name="LAISSAOUI, Ghita" userId="ac8a0427-4948-4bf4-bb5c-4b9a41a9bd01" providerId="ADAL" clId="{8C4A23C6-A272-4AE5-87F4-94EB44631B18}" dt="2022-01-25T13:25:28.761" v="1985"/>
          <ac:spMkLst>
            <pc:docMk/>
            <pc:sldMk cId="585301086" sldId="2145706328"/>
            <ac:spMk id="34" creationId="{115C3D4C-87C4-44E4-82CD-74E7647DEA1C}"/>
          </ac:spMkLst>
        </pc:spChg>
        <pc:spChg chg="mod">
          <ac:chgData name="LAISSAOUI, Ghita" userId="ac8a0427-4948-4bf4-bb5c-4b9a41a9bd01" providerId="ADAL" clId="{8C4A23C6-A272-4AE5-87F4-94EB44631B18}" dt="2022-01-25T13:25:28.761" v="1985"/>
          <ac:spMkLst>
            <pc:docMk/>
            <pc:sldMk cId="585301086" sldId="2145706328"/>
            <ac:spMk id="35" creationId="{51EBDF8D-0D36-4131-9A9F-F2559450E6F4}"/>
          </ac:spMkLst>
        </pc:spChg>
        <pc:spChg chg="mod">
          <ac:chgData name="LAISSAOUI, Ghita" userId="ac8a0427-4948-4bf4-bb5c-4b9a41a9bd01" providerId="ADAL" clId="{8C4A23C6-A272-4AE5-87F4-94EB44631B18}" dt="2022-01-25T13:25:28.761" v="1985"/>
          <ac:spMkLst>
            <pc:docMk/>
            <pc:sldMk cId="585301086" sldId="2145706328"/>
            <ac:spMk id="37" creationId="{FBD7D2AC-6D36-42AE-860F-D3083BB1229C}"/>
          </ac:spMkLst>
        </pc:spChg>
        <pc:spChg chg="mod">
          <ac:chgData name="LAISSAOUI, Ghita" userId="ac8a0427-4948-4bf4-bb5c-4b9a41a9bd01" providerId="ADAL" clId="{8C4A23C6-A272-4AE5-87F4-94EB44631B18}" dt="2022-01-25T13:25:28.761" v="1985"/>
          <ac:spMkLst>
            <pc:docMk/>
            <pc:sldMk cId="585301086" sldId="2145706328"/>
            <ac:spMk id="38" creationId="{FC11CA24-66AC-4F1A-914C-7F4B1CB2AA1E}"/>
          </ac:spMkLst>
        </pc:spChg>
        <pc:spChg chg="mod">
          <ac:chgData name="LAISSAOUI, Ghita" userId="ac8a0427-4948-4bf4-bb5c-4b9a41a9bd01" providerId="ADAL" clId="{8C4A23C6-A272-4AE5-87F4-94EB44631B18}" dt="2022-01-25T13:39:11.872" v="2187" actId="207"/>
          <ac:spMkLst>
            <pc:docMk/>
            <pc:sldMk cId="585301086" sldId="2145706328"/>
            <ac:spMk id="40" creationId="{E281D385-68CC-4CF5-A108-67162E2FBA9D}"/>
          </ac:spMkLst>
        </pc:spChg>
        <pc:spChg chg="mod">
          <ac:chgData name="LAISSAOUI, Ghita" userId="ac8a0427-4948-4bf4-bb5c-4b9a41a9bd01" providerId="ADAL" clId="{8C4A23C6-A272-4AE5-87F4-94EB44631B18}" dt="2022-01-25T13:36:47.911" v="2174" actId="208"/>
          <ac:spMkLst>
            <pc:docMk/>
            <pc:sldMk cId="585301086" sldId="2145706328"/>
            <ac:spMk id="41" creationId="{BD00C327-BCA8-40FA-B431-59F61645D6E6}"/>
          </ac:spMkLst>
        </pc:spChg>
        <pc:spChg chg="mod">
          <ac:chgData name="LAISSAOUI, Ghita" userId="ac8a0427-4948-4bf4-bb5c-4b9a41a9bd01" providerId="ADAL" clId="{8C4A23C6-A272-4AE5-87F4-94EB44631B18}" dt="2022-01-25T13:29:14.758" v="2055" actId="165"/>
          <ac:spMkLst>
            <pc:docMk/>
            <pc:sldMk cId="585301086" sldId="2145706328"/>
            <ac:spMk id="43" creationId="{F3C400D4-6A39-4B3A-8C38-73A7442A4064}"/>
          </ac:spMkLst>
        </pc:spChg>
        <pc:spChg chg="mod">
          <ac:chgData name="LAISSAOUI, Ghita" userId="ac8a0427-4948-4bf4-bb5c-4b9a41a9bd01" providerId="ADAL" clId="{8C4A23C6-A272-4AE5-87F4-94EB44631B18}" dt="2022-01-25T13:29:14.758" v="2055" actId="165"/>
          <ac:spMkLst>
            <pc:docMk/>
            <pc:sldMk cId="585301086" sldId="2145706328"/>
            <ac:spMk id="44" creationId="{01BBA054-88CA-43B1-B658-A00AB1EE3D65}"/>
          </ac:spMkLst>
        </pc:spChg>
        <pc:spChg chg="add del mod">
          <ac:chgData name="LAISSAOUI, Ghita" userId="ac8a0427-4948-4bf4-bb5c-4b9a41a9bd01" providerId="ADAL" clId="{8C4A23C6-A272-4AE5-87F4-94EB44631B18}" dt="2022-01-25T13:25:41.425" v="1988" actId="478"/>
          <ac:spMkLst>
            <pc:docMk/>
            <pc:sldMk cId="585301086" sldId="2145706328"/>
            <ac:spMk id="45" creationId="{37ACD2F1-611B-45C1-BB34-5D1676BF635F}"/>
          </ac:spMkLst>
        </pc:spChg>
        <pc:spChg chg="add del mod">
          <ac:chgData name="LAISSAOUI, Ghita" userId="ac8a0427-4948-4bf4-bb5c-4b9a41a9bd01" providerId="ADAL" clId="{8C4A23C6-A272-4AE5-87F4-94EB44631B18}" dt="2022-02-01T16:06:40.462" v="9763" actId="478"/>
          <ac:spMkLst>
            <pc:docMk/>
            <pc:sldMk cId="585301086" sldId="2145706328"/>
            <ac:spMk id="45" creationId="{7FCB0B5C-8CE4-40EC-A375-32E74DD5A8CB}"/>
          </ac:spMkLst>
        </pc:spChg>
        <pc:spChg chg="del">
          <ac:chgData name="LAISSAOUI, Ghita" userId="ac8a0427-4948-4bf4-bb5c-4b9a41a9bd01" providerId="ADAL" clId="{8C4A23C6-A272-4AE5-87F4-94EB44631B18}" dt="2022-01-27T15:30:19.597" v="5737" actId="478"/>
          <ac:spMkLst>
            <pc:docMk/>
            <pc:sldMk cId="585301086" sldId="2145706328"/>
            <ac:spMk id="45" creationId="{B8F9BFA3-DF74-44D7-B078-D9944906A235}"/>
          </ac:spMkLst>
        </pc:spChg>
        <pc:spChg chg="add mod topLvl">
          <ac:chgData name="LAISSAOUI, Ghita" userId="ac8a0427-4948-4bf4-bb5c-4b9a41a9bd01" providerId="ADAL" clId="{8C4A23C6-A272-4AE5-87F4-94EB44631B18}" dt="2022-01-25T13:50:32.683" v="2435" actId="20577"/>
          <ac:spMkLst>
            <pc:docMk/>
            <pc:sldMk cId="585301086" sldId="2145706328"/>
            <ac:spMk id="46" creationId="{DD0CAC4C-5C41-4C4C-8606-0F02EA591DAF}"/>
          </ac:spMkLst>
        </pc:spChg>
        <pc:spChg chg="add mod">
          <ac:chgData name="LAISSAOUI, Ghita" userId="ac8a0427-4948-4bf4-bb5c-4b9a41a9bd01" providerId="ADAL" clId="{8C4A23C6-A272-4AE5-87F4-94EB44631B18}" dt="2022-01-25T13:53:57.963" v="2686" actId="1076"/>
          <ac:spMkLst>
            <pc:docMk/>
            <pc:sldMk cId="585301086" sldId="2145706328"/>
            <ac:spMk id="49" creationId="{EF055F6E-9FE4-486A-AACC-0F31796F6634}"/>
          </ac:spMkLst>
        </pc:spChg>
        <pc:spChg chg="add mod">
          <ac:chgData name="LAISSAOUI, Ghita" userId="ac8a0427-4948-4bf4-bb5c-4b9a41a9bd01" providerId="ADAL" clId="{8C4A23C6-A272-4AE5-87F4-94EB44631B18}" dt="2022-01-31T10:07:13.613" v="8992" actId="20577"/>
          <ac:spMkLst>
            <pc:docMk/>
            <pc:sldMk cId="585301086" sldId="2145706328"/>
            <ac:spMk id="50" creationId="{D5B9DFF4-F091-4567-A4F8-67F2961E92A6}"/>
          </ac:spMkLst>
        </pc:spChg>
        <pc:spChg chg="add mod">
          <ac:chgData name="LAISSAOUI, Ghita" userId="ac8a0427-4948-4bf4-bb5c-4b9a41a9bd01" providerId="ADAL" clId="{8C4A23C6-A272-4AE5-87F4-94EB44631B18}" dt="2022-01-25T15:12:53.104" v="3155"/>
          <ac:spMkLst>
            <pc:docMk/>
            <pc:sldMk cId="585301086" sldId="2145706328"/>
            <ac:spMk id="51" creationId="{C66E319D-0897-4D4E-AE19-D85FD7643660}"/>
          </ac:spMkLst>
        </pc:spChg>
        <pc:spChg chg="add mod">
          <ac:chgData name="LAISSAOUI, Ghita" userId="ac8a0427-4948-4bf4-bb5c-4b9a41a9bd01" providerId="ADAL" clId="{8C4A23C6-A272-4AE5-87F4-94EB44631B18}" dt="2022-01-27T13:56:44.277" v="4945"/>
          <ac:spMkLst>
            <pc:docMk/>
            <pc:sldMk cId="585301086" sldId="2145706328"/>
            <ac:spMk id="53" creationId="{896A857D-3A38-4D93-80D1-AEC759C18FF7}"/>
          </ac:spMkLst>
        </pc:spChg>
        <pc:spChg chg="mod">
          <ac:chgData name="LAISSAOUI, Ghita" userId="ac8a0427-4948-4bf4-bb5c-4b9a41a9bd01" providerId="ADAL" clId="{8C4A23C6-A272-4AE5-87F4-94EB44631B18}" dt="2022-01-25T13:38:43.017" v="2183" actId="207"/>
          <ac:spMkLst>
            <pc:docMk/>
            <pc:sldMk cId="585301086" sldId="2145706328"/>
            <ac:spMk id="65" creationId="{3DFBE4A4-843B-4369-83C8-6B2234486A79}"/>
          </ac:spMkLst>
        </pc:spChg>
        <pc:spChg chg="mod">
          <ac:chgData name="LAISSAOUI, Ghita" userId="ac8a0427-4948-4bf4-bb5c-4b9a41a9bd01" providerId="ADAL" clId="{8C4A23C6-A272-4AE5-87F4-94EB44631B18}" dt="2022-01-25T13:36:18.225" v="2165" actId="208"/>
          <ac:spMkLst>
            <pc:docMk/>
            <pc:sldMk cId="585301086" sldId="2145706328"/>
            <ac:spMk id="66" creationId="{94253949-9F43-436C-9392-7120AE0C6C4D}"/>
          </ac:spMkLst>
        </pc:spChg>
        <pc:spChg chg="mod">
          <ac:chgData name="LAISSAOUI, Ghita" userId="ac8a0427-4948-4bf4-bb5c-4b9a41a9bd01" providerId="ADAL" clId="{8C4A23C6-A272-4AE5-87F4-94EB44631B18}" dt="2022-01-25T13:37:37.405" v="2182" actId="208"/>
          <ac:spMkLst>
            <pc:docMk/>
            <pc:sldMk cId="585301086" sldId="2145706328"/>
            <ac:spMk id="68" creationId="{E78A79FA-14E5-4CAA-9C47-A0803C8C71A1}"/>
          </ac:spMkLst>
        </pc:spChg>
        <pc:spChg chg="mod">
          <ac:chgData name="LAISSAOUI, Ghita" userId="ac8a0427-4948-4bf4-bb5c-4b9a41a9bd01" providerId="ADAL" clId="{8C4A23C6-A272-4AE5-87F4-94EB44631B18}" dt="2022-01-25T13:37:34.210" v="2181" actId="208"/>
          <ac:spMkLst>
            <pc:docMk/>
            <pc:sldMk cId="585301086" sldId="2145706328"/>
            <ac:spMk id="69" creationId="{D9A66997-2617-4009-9424-0E06DE7F4256}"/>
          </ac:spMkLst>
        </pc:spChg>
        <pc:spChg chg="mod">
          <ac:chgData name="LAISSAOUI, Ghita" userId="ac8a0427-4948-4bf4-bb5c-4b9a41a9bd01" providerId="ADAL" clId="{8C4A23C6-A272-4AE5-87F4-94EB44631B18}" dt="2022-01-25T13:38:58.021" v="2184" actId="207"/>
          <ac:spMkLst>
            <pc:docMk/>
            <pc:sldMk cId="585301086" sldId="2145706328"/>
            <ac:spMk id="71" creationId="{007072EA-0575-4B2A-8B46-9ADEDC1425AC}"/>
          </ac:spMkLst>
        </pc:spChg>
        <pc:spChg chg="mod">
          <ac:chgData name="LAISSAOUI, Ghita" userId="ac8a0427-4948-4bf4-bb5c-4b9a41a9bd01" providerId="ADAL" clId="{8C4A23C6-A272-4AE5-87F4-94EB44631B18}" dt="2022-01-25T13:36:23.149" v="2166" actId="208"/>
          <ac:spMkLst>
            <pc:docMk/>
            <pc:sldMk cId="585301086" sldId="2145706328"/>
            <ac:spMk id="72" creationId="{6B836587-A4B5-4556-AEDA-1674460A426C}"/>
          </ac:spMkLst>
        </pc:spChg>
        <pc:spChg chg="mod">
          <ac:chgData name="LAISSAOUI, Ghita" userId="ac8a0427-4948-4bf4-bb5c-4b9a41a9bd01" providerId="ADAL" clId="{8C4A23C6-A272-4AE5-87F4-94EB44631B18}" dt="2022-01-25T13:37:12.062" v="2175" actId="207"/>
          <ac:spMkLst>
            <pc:docMk/>
            <pc:sldMk cId="585301086" sldId="2145706328"/>
            <ac:spMk id="74" creationId="{17024B88-9059-4F25-8915-D106D4E4240E}"/>
          </ac:spMkLst>
        </pc:spChg>
        <pc:spChg chg="mod">
          <ac:chgData name="LAISSAOUI, Ghita" userId="ac8a0427-4948-4bf4-bb5c-4b9a41a9bd01" providerId="ADAL" clId="{8C4A23C6-A272-4AE5-87F4-94EB44631B18}" dt="2022-01-25T13:37:19.103" v="2176" actId="207"/>
          <ac:spMkLst>
            <pc:docMk/>
            <pc:sldMk cId="585301086" sldId="2145706328"/>
            <ac:spMk id="75" creationId="{E2334B3F-7443-4430-A3B3-B2A09A69C4BE}"/>
          </ac:spMkLst>
        </pc:spChg>
        <pc:spChg chg="mod">
          <ac:chgData name="LAISSAOUI, Ghita" userId="ac8a0427-4948-4bf4-bb5c-4b9a41a9bd01" providerId="ADAL" clId="{8C4A23C6-A272-4AE5-87F4-94EB44631B18}" dt="2022-01-25T13:39:03.439" v="2185" actId="207"/>
          <ac:spMkLst>
            <pc:docMk/>
            <pc:sldMk cId="585301086" sldId="2145706328"/>
            <ac:spMk id="77" creationId="{CECB90D3-7394-47A5-980D-395BE66B2874}"/>
          </ac:spMkLst>
        </pc:spChg>
        <pc:spChg chg="mod">
          <ac:chgData name="LAISSAOUI, Ghita" userId="ac8a0427-4948-4bf4-bb5c-4b9a41a9bd01" providerId="ADAL" clId="{8C4A23C6-A272-4AE5-87F4-94EB44631B18}" dt="2022-01-25T13:36:26.171" v="2167" actId="208"/>
          <ac:spMkLst>
            <pc:docMk/>
            <pc:sldMk cId="585301086" sldId="2145706328"/>
            <ac:spMk id="78" creationId="{C589AE45-4635-4609-B598-B8234DA89F79}"/>
          </ac:spMkLst>
        </pc:spChg>
        <pc:spChg chg="mod">
          <ac:chgData name="LAISSAOUI, Ghita" userId="ac8a0427-4948-4bf4-bb5c-4b9a41a9bd01" providerId="ADAL" clId="{8C4A23C6-A272-4AE5-87F4-94EB44631B18}" dt="2022-01-25T13:29:14.758" v="2055" actId="165"/>
          <ac:spMkLst>
            <pc:docMk/>
            <pc:sldMk cId="585301086" sldId="2145706328"/>
            <ac:spMk id="80" creationId="{9D93A430-7928-473D-875D-3CEDCD3DAD55}"/>
          </ac:spMkLst>
        </pc:spChg>
        <pc:spChg chg="mod">
          <ac:chgData name="LAISSAOUI, Ghita" userId="ac8a0427-4948-4bf4-bb5c-4b9a41a9bd01" providerId="ADAL" clId="{8C4A23C6-A272-4AE5-87F4-94EB44631B18}" dt="2022-01-25T13:29:14.758" v="2055" actId="165"/>
          <ac:spMkLst>
            <pc:docMk/>
            <pc:sldMk cId="585301086" sldId="2145706328"/>
            <ac:spMk id="81" creationId="{475FC40A-DD9D-4F4F-B060-43E8FC7BA9CB}"/>
          </ac:spMkLst>
        </pc:spChg>
        <pc:spChg chg="mod">
          <ac:chgData name="LAISSAOUI, Ghita" userId="ac8a0427-4948-4bf4-bb5c-4b9a41a9bd01" providerId="ADAL" clId="{8C4A23C6-A272-4AE5-87F4-94EB44631B18}" dt="2022-01-25T13:39:07.805" v="2186" actId="207"/>
          <ac:spMkLst>
            <pc:docMk/>
            <pc:sldMk cId="585301086" sldId="2145706328"/>
            <ac:spMk id="83" creationId="{4C6D2D45-894F-4FEF-A741-7FBDC4ABB743}"/>
          </ac:spMkLst>
        </pc:spChg>
        <pc:spChg chg="mod">
          <ac:chgData name="LAISSAOUI, Ghita" userId="ac8a0427-4948-4bf4-bb5c-4b9a41a9bd01" providerId="ADAL" clId="{8C4A23C6-A272-4AE5-87F4-94EB44631B18}" dt="2022-01-25T13:36:44.146" v="2173" actId="208"/>
          <ac:spMkLst>
            <pc:docMk/>
            <pc:sldMk cId="585301086" sldId="2145706328"/>
            <ac:spMk id="84" creationId="{BA2327A5-B730-4D7D-892C-D2AB760D365D}"/>
          </ac:spMkLst>
        </pc:spChg>
        <pc:spChg chg="mod">
          <ac:chgData name="LAISSAOUI, Ghita" userId="ac8a0427-4948-4bf4-bb5c-4b9a41a9bd01" providerId="ADAL" clId="{8C4A23C6-A272-4AE5-87F4-94EB44631B18}" dt="2022-01-25T13:29:14.758" v="2055" actId="165"/>
          <ac:spMkLst>
            <pc:docMk/>
            <pc:sldMk cId="585301086" sldId="2145706328"/>
            <ac:spMk id="86" creationId="{8573B76B-CED5-44F3-B912-8EA00BB86527}"/>
          </ac:spMkLst>
        </pc:spChg>
        <pc:spChg chg="mod">
          <ac:chgData name="LAISSAOUI, Ghita" userId="ac8a0427-4948-4bf4-bb5c-4b9a41a9bd01" providerId="ADAL" clId="{8C4A23C6-A272-4AE5-87F4-94EB44631B18}" dt="2022-01-25T13:29:14.758" v="2055" actId="165"/>
          <ac:spMkLst>
            <pc:docMk/>
            <pc:sldMk cId="585301086" sldId="2145706328"/>
            <ac:spMk id="87" creationId="{A25D308D-5385-4888-8450-C7B96251EA46}"/>
          </ac:spMkLst>
        </pc:spChg>
        <pc:spChg chg="mod topLvl">
          <ac:chgData name="LAISSAOUI, Ghita" userId="ac8a0427-4948-4bf4-bb5c-4b9a41a9bd01" providerId="ADAL" clId="{8C4A23C6-A272-4AE5-87F4-94EB44631B18}" dt="2022-01-25T13:48:44.394" v="2375" actId="20577"/>
          <ac:spMkLst>
            <pc:docMk/>
            <pc:sldMk cId="585301086" sldId="2145706328"/>
            <ac:spMk id="88" creationId="{8BE2495A-6169-4ADA-88F8-CAC9A4408FA5}"/>
          </ac:spMkLst>
        </pc:spChg>
        <pc:spChg chg="mod topLvl">
          <ac:chgData name="LAISSAOUI, Ghita" userId="ac8a0427-4948-4bf4-bb5c-4b9a41a9bd01" providerId="ADAL" clId="{8C4A23C6-A272-4AE5-87F4-94EB44631B18}" dt="2022-01-25T13:49:46.190" v="2407" actId="20577"/>
          <ac:spMkLst>
            <pc:docMk/>
            <pc:sldMk cId="585301086" sldId="2145706328"/>
            <ac:spMk id="89" creationId="{5337ECA1-3DEA-4ADA-9D02-DE7B9E14C7C9}"/>
          </ac:spMkLst>
        </pc:spChg>
        <pc:spChg chg="mod topLvl">
          <ac:chgData name="LAISSAOUI, Ghita" userId="ac8a0427-4948-4bf4-bb5c-4b9a41a9bd01" providerId="ADAL" clId="{8C4A23C6-A272-4AE5-87F4-94EB44631B18}" dt="2022-02-01T16:06:35.031" v="9762" actId="313"/>
          <ac:spMkLst>
            <pc:docMk/>
            <pc:sldMk cId="585301086" sldId="2145706328"/>
            <ac:spMk id="90" creationId="{0F6D77B5-B858-42A9-9599-55DD8843B3E4}"/>
          </ac:spMkLst>
        </pc:spChg>
        <pc:spChg chg="mod topLvl">
          <ac:chgData name="LAISSAOUI, Ghita" userId="ac8a0427-4948-4bf4-bb5c-4b9a41a9bd01" providerId="ADAL" clId="{8C4A23C6-A272-4AE5-87F4-94EB44631B18}" dt="2022-01-25T13:50:22.800" v="2433" actId="20577"/>
          <ac:spMkLst>
            <pc:docMk/>
            <pc:sldMk cId="585301086" sldId="2145706328"/>
            <ac:spMk id="91" creationId="{D47D6D75-8E3B-4E26-86F2-DDCC395986F4}"/>
          </ac:spMkLst>
        </pc:spChg>
        <pc:grpChg chg="add mod">
          <ac:chgData name="LAISSAOUI, Ghita" userId="ac8a0427-4948-4bf4-bb5c-4b9a41a9bd01" providerId="ADAL" clId="{8C4A23C6-A272-4AE5-87F4-94EB44631B18}" dt="2022-01-25T13:24:48.818" v="1981" actId="164"/>
          <ac:grpSpMkLst>
            <pc:docMk/>
            <pc:sldMk cId="585301086" sldId="2145706328"/>
            <ac:grpSpMk id="3" creationId="{01563921-0E46-4524-B113-AA6BE8564E4B}"/>
          </ac:grpSpMkLst>
        </pc:grpChg>
        <pc:grpChg chg="add del mod">
          <ac:chgData name="LAISSAOUI, Ghita" userId="ac8a0427-4948-4bf4-bb5c-4b9a41a9bd01" providerId="ADAL" clId="{8C4A23C6-A272-4AE5-87F4-94EB44631B18}" dt="2022-01-25T13:25:21.557" v="1984" actId="165"/>
          <ac:grpSpMkLst>
            <pc:docMk/>
            <pc:sldMk cId="585301086" sldId="2145706328"/>
            <ac:grpSpMk id="4" creationId="{160BF396-4B1E-4537-94D7-EE91D8A116F2}"/>
          </ac:grpSpMkLst>
        </pc:grpChg>
        <pc:grpChg chg="add del mod">
          <ac:chgData name="LAISSAOUI, Ghita" userId="ac8a0427-4948-4bf4-bb5c-4b9a41a9bd01" providerId="ADAL" clId="{8C4A23C6-A272-4AE5-87F4-94EB44631B18}" dt="2022-01-25T13:29:14.758" v="2055" actId="165"/>
          <ac:grpSpMkLst>
            <pc:docMk/>
            <pc:sldMk cId="585301086" sldId="2145706328"/>
            <ac:grpSpMk id="5" creationId="{05DF00D7-C811-418B-9E2C-30170649CBA3}"/>
          </ac:grpSpMkLst>
        </pc:grpChg>
        <pc:grpChg chg="add del mod">
          <ac:chgData name="LAISSAOUI, Ghita" userId="ac8a0427-4948-4bf4-bb5c-4b9a41a9bd01" providerId="ADAL" clId="{8C4A23C6-A272-4AE5-87F4-94EB44631B18}" dt="2022-01-25T13:25:39.421" v="1987" actId="478"/>
          <ac:grpSpMkLst>
            <pc:docMk/>
            <pc:sldMk cId="585301086" sldId="2145706328"/>
            <ac:grpSpMk id="33" creationId="{40F107EE-F40F-490C-A211-4D22C3B5C3B4}"/>
          </ac:grpSpMkLst>
        </pc:grpChg>
        <pc:grpChg chg="mod">
          <ac:chgData name="LAISSAOUI, Ghita" userId="ac8a0427-4948-4bf4-bb5c-4b9a41a9bd01" providerId="ADAL" clId="{8C4A23C6-A272-4AE5-87F4-94EB44631B18}" dt="2022-01-25T13:25:28.761" v="1985"/>
          <ac:grpSpMkLst>
            <pc:docMk/>
            <pc:sldMk cId="585301086" sldId="2145706328"/>
            <ac:grpSpMk id="36" creationId="{A7E25F8D-EA68-4F3B-A332-D915A8786F92}"/>
          </ac:grpSpMkLst>
        </pc:grpChg>
        <pc:grpChg chg="add mod topLvl">
          <ac:chgData name="LAISSAOUI, Ghita" userId="ac8a0427-4948-4bf4-bb5c-4b9a41a9bd01" providerId="ADAL" clId="{8C4A23C6-A272-4AE5-87F4-94EB44631B18}" dt="2022-01-25T13:29:14.758" v="2055" actId="165"/>
          <ac:grpSpMkLst>
            <pc:docMk/>
            <pc:sldMk cId="585301086" sldId="2145706328"/>
            <ac:grpSpMk id="39" creationId="{55166168-A4EF-4377-9143-E8F5710C53A1}"/>
          </ac:grpSpMkLst>
        </pc:grpChg>
        <pc:grpChg chg="mod">
          <ac:chgData name="LAISSAOUI, Ghita" userId="ac8a0427-4948-4bf4-bb5c-4b9a41a9bd01" providerId="ADAL" clId="{8C4A23C6-A272-4AE5-87F4-94EB44631B18}" dt="2022-01-25T13:29:14.758" v="2055" actId="165"/>
          <ac:grpSpMkLst>
            <pc:docMk/>
            <pc:sldMk cId="585301086" sldId="2145706328"/>
            <ac:grpSpMk id="42" creationId="{CB91742C-9AFD-4574-9D6B-ECCAB24F8E02}"/>
          </ac:grpSpMkLst>
        </pc:grpChg>
        <pc:grpChg chg="mod topLvl">
          <ac:chgData name="LAISSAOUI, Ghita" userId="ac8a0427-4948-4bf4-bb5c-4b9a41a9bd01" providerId="ADAL" clId="{8C4A23C6-A272-4AE5-87F4-94EB44631B18}" dt="2022-01-25T13:29:14.758" v="2055" actId="165"/>
          <ac:grpSpMkLst>
            <pc:docMk/>
            <pc:sldMk cId="585301086" sldId="2145706328"/>
            <ac:grpSpMk id="56" creationId="{29BC9D21-F120-48C2-9EA5-EFA5CB3D6FFB}"/>
          </ac:grpSpMkLst>
        </pc:grpChg>
        <pc:grpChg chg="mod">
          <ac:chgData name="LAISSAOUI, Ghita" userId="ac8a0427-4948-4bf4-bb5c-4b9a41a9bd01" providerId="ADAL" clId="{8C4A23C6-A272-4AE5-87F4-94EB44631B18}" dt="2022-01-25T13:29:14.758" v="2055" actId="165"/>
          <ac:grpSpMkLst>
            <pc:docMk/>
            <pc:sldMk cId="585301086" sldId="2145706328"/>
            <ac:grpSpMk id="67" creationId="{6F9BA7B0-0ED2-4F85-A784-2E8323070FE6}"/>
          </ac:grpSpMkLst>
        </pc:grpChg>
        <pc:grpChg chg="mod topLvl">
          <ac:chgData name="LAISSAOUI, Ghita" userId="ac8a0427-4948-4bf4-bb5c-4b9a41a9bd01" providerId="ADAL" clId="{8C4A23C6-A272-4AE5-87F4-94EB44631B18}" dt="2022-01-25T13:29:14.758" v="2055" actId="165"/>
          <ac:grpSpMkLst>
            <pc:docMk/>
            <pc:sldMk cId="585301086" sldId="2145706328"/>
            <ac:grpSpMk id="70" creationId="{331093B2-120D-4D90-BF57-F782C1DE94EB}"/>
          </ac:grpSpMkLst>
        </pc:grpChg>
        <pc:grpChg chg="mod">
          <ac:chgData name="LAISSAOUI, Ghita" userId="ac8a0427-4948-4bf4-bb5c-4b9a41a9bd01" providerId="ADAL" clId="{8C4A23C6-A272-4AE5-87F4-94EB44631B18}" dt="2022-01-25T13:29:14.758" v="2055" actId="165"/>
          <ac:grpSpMkLst>
            <pc:docMk/>
            <pc:sldMk cId="585301086" sldId="2145706328"/>
            <ac:grpSpMk id="73" creationId="{7252FA8F-3518-4059-957D-25C4262D821E}"/>
          </ac:grpSpMkLst>
        </pc:grpChg>
        <pc:grpChg chg="mod topLvl">
          <ac:chgData name="LAISSAOUI, Ghita" userId="ac8a0427-4948-4bf4-bb5c-4b9a41a9bd01" providerId="ADAL" clId="{8C4A23C6-A272-4AE5-87F4-94EB44631B18}" dt="2022-01-25T13:29:14.758" v="2055" actId="165"/>
          <ac:grpSpMkLst>
            <pc:docMk/>
            <pc:sldMk cId="585301086" sldId="2145706328"/>
            <ac:grpSpMk id="76" creationId="{B12E6ABA-86AC-41AB-B4E7-C9E8F7E074FB}"/>
          </ac:grpSpMkLst>
        </pc:grpChg>
        <pc:grpChg chg="mod">
          <ac:chgData name="LAISSAOUI, Ghita" userId="ac8a0427-4948-4bf4-bb5c-4b9a41a9bd01" providerId="ADAL" clId="{8C4A23C6-A272-4AE5-87F4-94EB44631B18}" dt="2022-01-25T13:29:14.758" v="2055" actId="165"/>
          <ac:grpSpMkLst>
            <pc:docMk/>
            <pc:sldMk cId="585301086" sldId="2145706328"/>
            <ac:grpSpMk id="79" creationId="{C7E30508-793B-4C27-8BFB-D4763193F844}"/>
          </ac:grpSpMkLst>
        </pc:grpChg>
        <pc:grpChg chg="mod topLvl">
          <ac:chgData name="LAISSAOUI, Ghita" userId="ac8a0427-4948-4bf4-bb5c-4b9a41a9bd01" providerId="ADAL" clId="{8C4A23C6-A272-4AE5-87F4-94EB44631B18}" dt="2022-01-25T13:29:14.758" v="2055" actId="165"/>
          <ac:grpSpMkLst>
            <pc:docMk/>
            <pc:sldMk cId="585301086" sldId="2145706328"/>
            <ac:grpSpMk id="82" creationId="{FD4DFA9A-5BD3-4138-8750-5512E6EE0C86}"/>
          </ac:grpSpMkLst>
        </pc:grpChg>
        <pc:grpChg chg="mod">
          <ac:chgData name="LAISSAOUI, Ghita" userId="ac8a0427-4948-4bf4-bb5c-4b9a41a9bd01" providerId="ADAL" clId="{8C4A23C6-A272-4AE5-87F4-94EB44631B18}" dt="2022-01-25T13:29:14.758" v="2055" actId="165"/>
          <ac:grpSpMkLst>
            <pc:docMk/>
            <pc:sldMk cId="585301086" sldId="2145706328"/>
            <ac:grpSpMk id="85" creationId="{7051AF4F-F2BE-4B34-9404-33D8A1A36470}"/>
          </ac:grpSpMkLst>
        </pc:grpChg>
        <pc:picChg chg="add del mod">
          <ac:chgData name="LAISSAOUI, Ghita" userId="ac8a0427-4948-4bf4-bb5c-4b9a41a9bd01" providerId="ADAL" clId="{8C4A23C6-A272-4AE5-87F4-94EB44631B18}" dt="2022-01-27T15:30:08.741" v="5736" actId="478"/>
          <ac:picMkLst>
            <pc:docMk/>
            <pc:sldMk cId="585301086" sldId="2145706328"/>
            <ac:picMk id="4" creationId="{D6E5B9ED-DCE2-42CB-B2E0-C7F0E278A547}"/>
          </ac:picMkLst>
        </pc:picChg>
        <pc:picChg chg="add del mod">
          <ac:chgData name="LAISSAOUI, Ghita" userId="ac8a0427-4948-4bf4-bb5c-4b9a41a9bd01" providerId="ADAL" clId="{8C4A23C6-A272-4AE5-87F4-94EB44631B18}" dt="2022-01-27T15:30:08.741" v="5736" actId="478"/>
          <ac:picMkLst>
            <pc:docMk/>
            <pc:sldMk cId="585301086" sldId="2145706328"/>
            <ac:picMk id="6" creationId="{51C4EA2D-D9A8-4065-89C5-4C40896173B1}"/>
          </ac:picMkLst>
        </pc:picChg>
        <pc:picChg chg="add del mod">
          <ac:chgData name="LAISSAOUI, Ghita" userId="ac8a0427-4948-4bf4-bb5c-4b9a41a9bd01" providerId="ADAL" clId="{8C4A23C6-A272-4AE5-87F4-94EB44631B18}" dt="2022-01-27T10:44:53.163" v="4340" actId="478"/>
          <ac:picMkLst>
            <pc:docMk/>
            <pc:sldMk cId="585301086" sldId="2145706328"/>
            <ac:picMk id="8" creationId="{39F9DA73-989A-4BD1-8902-84382C480AE2}"/>
          </ac:picMkLst>
        </pc:picChg>
        <pc:picChg chg="add del mod">
          <ac:chgData name="LAISSAOUI, Ghita" userId="ac8a0427-4948-4bf4-bb5c-4b9a41a9bd01" providerId="ADAL" clId="{8C4A23C6-A272-4AE5-87F4-94EB44631B18}" dt="2022-01-27T15:30:08.741" v="5736" actId="478"/>
          <ac:picMkLst>
            <pc:docMk/>
            <pc:sldMk cId="585301086" sldId="2145706328"/>
            <ac:picMk id="10" creationId="{D71CFEF0-2616-475A-88A2-B17CF62305BE}"/>
          </ac:picMkLst>
        </pc:picChg>
        <pc:picChg chg="add del mod modCrop">
          <ac:chgData name="LAISSAOUI, Ghita" userId="ac8a0427-4948-4bf4-bb5c-4b9a41a9bd01" providerId="ADAL" clId="{8C4A23C6-A272-4AE5-87F4-94EB44631B18}" dt="2022-01-25T13:41:32.126" v="2365" actId="478"/>
          <ac:picMkLst>
            <pc:docMk/>
            <pc:sldMk cId="585301086" sldId="2145706328"/>
            <ac:picMk id="48" creationId="{FB259521-8B51-4129-B04C-0AE85059B528}"/>
          </ac:picMkLst>
        </pc:picChg>
        <pc:picChg chg="add mod">
          <ac:chgData name="LAISSAOUI, Ghita" userId="ac8a0427-4948-4bf4-bb5c-4b9a41a9bd01" providerId="ADAL" clId="{8C4A23C6-A272-4AE5-87F4-94EB44631B18}" dt="2022-01-27T16:00:46.446" v="5879" actId="1076"/>
          <ac:picMkLst>
            <pc:docMk/>
            <pc:sldMk cId="585301086" sldId="2145706328"/>
            <ac:picMk id="52" creationId="{10292D2D-AC4E-4828-9BF1-D626F6320E62}"/>
          </ac:picMkLst>
        </pc:picChg>
      </pc:sldChg>
      <pc:sldChg chg="addSp delSp modSp add mod">
        <pc:chgData name="LAISSAOUI, Ghita" userId="ac8a0427-4948-4bf4-bb5c-4b9a41a9bd01" providerId="ADAL" clId="{8C4A23C6-A272-4AE5-87F4-94EB44631B18}" dt="2022-01-28T15:40:08.480" v="7021" actId="1076"/>
        <pc:sldMkLst>
          <pc:docMk/>
          <pc:sldMk cId="119012224" sldId="2145706389"/>
        </pc:sldMkLst>
        <pc:spChg chg="mod">
          <ac:chgData name="LAISSAOUI, Ghita" userId="ac8a0427-4948-4bf4-bb5c-4b9a41a9bd01" providerId="ADAL" clId="{8C4A23C6-A272-4AE5-87F4-94EB44631B18}" dt="2022-01-27T09:36:43.295" v="4182" actId="14100"/>
          <ac:spMkLst>
            <pc:docMk/>
            <pc:sldMk cId="119012224" sldId="2145706389"/>
            <ac:spMk id="2" creationId="{11561505-8F4F-4A6E-9BE6-F79961C57E79}"/>
          </ac:spMkLst>
        </pc:spChg>
        <pc:spChg chg="del">
          <ac:chgData name="LAISSAOUI, Ghita" userId="ac8a0427-4948-4bf4-bb5c-4b9a41a9bd01" providerId="ADAL" clId="{8C4A23C6-A272-4AE5-87F4-94EB44631B18}" dt="2022-01-27T09:36:31.054" v="4180" actId="478"/>
          <ac:spMkLst>
            <pc:docMk/>
            <pc:sldMk cId="119012224" sldId="2145706389"/>
            <ac:spMk id="4" creationId="{32CF78F4-A64F-4266-B8BD-E5E5CFEADBC8}"/>
          </ac:spMkLst>
        </pc:spChg>
        <pc:spChg chg="add mod">
          <ac:chgData name="LAISSAOUI, Ghita" userId="ac8a0427-4948-4bf4-bb5c-4b9a41a9bd01" providerId="ADAL" clId="{8C4A23C6-A272-4AE5-87F4-94EB44631B18}" dt="2022-01-25T15:34:58.075" v="3760" actId="164"/>
          <ac:spMkLst>
            <pc:docMk/>
            <pc:sldMk cId="119012224" sldId="2145706389"/>
            <ac:spMk id="5" creationId="{553DA2FC-2EEE-4C97-B8FC-20343F33F64A}"/>
          </ac:spMkLst>
        </pc:spChg>
        <pc:spChg chg="add del mod">
          <ac:chgData name="LAISSAOUI, Ghita" userId="ac8a0427-4948-4bf4-bb5c-4b9a41a9bd01" providerId="ADAL" clId="{8C4A23C6-A272-4AE5-87F4-94EB44631B18}" dt="2022-01-25T15:32:05.776" v="3623" actId="478"/>
          <ac:spMkLst>
            <pc:docMk/>
            <pc:sldMk cId="119012224" sldId="2145706389"/>
            <ac:spMk id="6" creationId="{AF6A4248-C3AC-4995-83F9-6CA37DFA67A8}"/>
          </ac:spMkLst>
        </pc:spChg>
        <pc:spChg chg="del">
          <ac:chgData name="LAISSAOUI, Ghita" userId="ac8a0427-4948-4bf4-bb5c-4b9a41a9bd01" providerId="ADAL" clId="{8C4A23C6-A272-4AE5-87F4-94EB44631B18}" dt="2022-01-27T09:36:28.052" v="4179" actId="478"/>
          <ac:spMkLst>
            <pc:docMk/>
            <pc:sldMk cId="119012224" sldId="2145706389"/>
            <ac:spMk id="19" creationId="{A104AA72-C5FD-4F25-93A7-869D76F37894}"/>
          </ac:spMkLst>
        </pc:spChg>
        <pc:spChg chg="add mod">
          <ac:chgData name="LAISSAOUI, Ghita" userId="ac8a0427-4948-4bf4-bb5c-4b9a41a9bd01" providerId="ADAL" clId="{8C4A23C6-A272-4AE5-87F4-94EB44631B18}" dt="2022-01-27T09:39:59.060" v="4223" actId="14100"/>
          <ac:spMkLst>
            <pc:docMk/>
            <pc:sldMk cId="119012224" sldId="2145706389"/>
            <ac:spMk id="20" creationId="{9538141F-3C62-47EF-B98A-23E01D639339}"/>
          </ac:spMkLst>
        </pc:spChg>
        <pc:spChg chg="add mod">
          <ac:chgData name="LAISSAOUI, Ghita" userId="ac8a0427-4948-4bf4-bb5c-4b9a41a9bd01" providerId="ADAL" clId="{8C4A23C6-A272-4AE5-87F4-94EB44631B18}" dt="2022-01-27T09:36:03.224" v="4176" actId="1076"/>
          <ac:spMkLst>
            <pc:docMk/>
            <pc:sldMk cId="119012224" sldId="2145706389"/>
            <ac:spMk id="21" creationId="{7ED18A64-B1AE-41BF-B587-D613BEFB1779}"/>
          </ac:spMkLst>
        </pc:spChg>
        <pc:spChg chg="add mod">
          <ac:chgData name="LAISSAOUI, Ghita" userId="ac8a0427-4948-4bf4-bb5c-4b9a41a9bd01" providerId="ADAL" clId="{8C4A23C6-A272-4AE5-87F4-94EB44631B18}" dt="2022-01-27T09:39:50.611" v="4222" actId="1076"/>
          <ac:spMkLst>
            <pc:docMk/>
            <pc:sldMk cId="119012224" sldId="2145706389"/>
            <ac:spMk id="22" creationId="{AA8C2CBA-2607-4065-A522-2FA47C281F6C}"/>
          </ac:spMkLst>
        </pc:spChg>
        <pc:spChg chg="add mod">
          <ac:chgData name="LAISSAOUI, Ghita" userId="ac8a0427-4948-4bf4-bb5c-4b9a41a9bd01" providerId="ADAL" clId="{8C4A23C6-A272-4AE5-87F4-94EB44631B18}" dt="2022-01-25T15:34:58.075" v="3760" actId="164"/>
          <ac:spMkLst>
            <pc:docMk/>
            <pc:sldMk cId="119012224" sldId="2145706389"/>
            <ac:spMk id="23" creationId="{BC2D9CA7-924D-4F64-9D35-37D674A89564}"/>
          </ac:spMkLst>
        </pc:spChg>
        <pc:spChg chg="add mod">
          <ac:chgData name="LAISSAOUI, Ghita" userId="ac8a0427-4948-4bf4-bb5c-4b9a41a9bd01" providerId="ADAL" clId="{8C4A23C6-A272-4AE5-87F4-94EB44631B18}" dt="2022-01-25T15:35:36.541" v="3765" actId="1076"/>
          <ac:spMkLst>
            <pc:docMk/>
            <pc:sldMk cId="119012224" sldId="2145706389"/>
            <ac:spMk id="24" creationId="{FEBB3C3D-A38A-4DD3-802A-F744F118CEC8}"/>
          </ac:spMkLst>
        </pc:spChg>
        <pc:spChg chg="add mod">
          <ac:chgData name="LAISSAOUI, Ghita" userId="ac8a0427-4948-4bf4-bb5c-4b9a41a9bd01" providerId="ADAL" clId="{8C4A23C6-A272-4AE5-87F4-94EB44631B18}" dt="2022-01-27T09:39:50.611" v="4222" actId="1076"/>
          <ac:spMkLst>
            <pc:docMk/>
            <pc:sldMk cId="119012224" sldId="2145706389"/>
            <ac:spMk id="25" creationId="{1D5653A2-8F19-45A6-87BE-E021A9A8B44D}"/>
          </ac:spMkLst>
        </pc:spChg>
        <pc:spChg chg="mod topLvl">
          <ac:chgData name="LAISSAOUI, Ghita" userId="ac8a0427-4948-4bf4-bb5c-4b9a41a9bd01" providerId="ADAL" clId="{8C4A23C6-A272-4AE5-87F4-94EB44631B18}" dt="2022-01-25T15:34:58.075" v="3760" actId="164"/>
          <ac:spMkLst>
            <pc:docMk/>
            <pc:sldMk cId="119012224" sldId="2145706389"/>
            <ac:spMk id="67" creationId="{55D764D7-7466-471B-B577-63CFF8FE00D0}"/>
          </ac:spMkLst>
        </pc:spChg>
        <pc:spChg chg="mod topLvl">
          <ac:chgData name="LAISSAOUI, Ghita" userId="ac8a0427-4948-4bf4-bb5c-4b9a41a9bd01" providerId="ADAL" clId="{8C4A23C6-A272-4AE5-87F4-94EB44631B18}" dt="2022-01-25T15:34:58.075" v="3760" actId="164"/>
          <ac:spMkLst>
            <pc:docMk/>
            <pc:sldMk cId="119012224" sldId="2145706389"/>
            <ac:spMk id="69" creationId="{DF6A0531-9029-431C-8C48-6B7A8F82DD84}"/>
          </ac:spMkLst>
        </pc:spChg>
        <pc:spChg chg="del mod topLvl">
          <ac:chgData name="LAISSAOUI, Ghita" userId="ac8a0427-4948-4bf4-bb5c-4b9a41a9bd01" providerId="ADAL" clId="{8C4A23C6-A272-4AE5-87F4-94EB44631B18}" dt="2022-01-25T15:27:34.154" v="3529" actId="478"/>
          <ac:spMkLst>
            <pc:docMk/>
            <pc:sldMk cId="119012224" sldId="2145706389"/>
            <ac:spMk id="70" creationId="{756182CF-8A48-49EE-92D5-1AB54CFEC2E3}"/>
          </ac:spMkLst>
        </pc:spChg>
        <pc:spChg chg="mod topLvl">
          <ac:chgData name="LAISSAOUI, Ghita" userId="ac8a0427-4948-4bf4-bb5c-4b9a41a9bd01" providerId="ADAL" clId="{8C4A23C6-A272-4AE5-87F4-94EB44631B18}" dt="2022-01-25T15:34:58.075" v="3760" actId="164"/>
          <ac:spMkLst>
            <pc:docMk/>
            <pc:sldMk cId="119012224" sldId="2145706389"/>
            <ac:spMk id="71" creationId="{79FB747D-3D6F-4757-8C99-C3BC44E9DBEC}"/>
          </ac:spMkLst>
        </pc:spChg>
        <pc:spChg chg="del mod topLvl">
          <ac:chgData name="LAISSAOUI, Ghita" userId="ac8a0427-4948-4bf4-bb5c-4b9a41a9bd01" providerId="ADAL" clId="{8C4A23C6-A272-4AE5-87F4-94EB44631B18}" dt="2022-01-25T15:27:31.420" v="3528" actId="478"/>
          <ac:spMkLst>
            <pc:docMk/>
            <pc:sldMk cId="119012224" sldId="2145706389"/>
            <ac:spMk id="72" creationId="{ABC0F3CB-47E7-40C8-823B-4A4494E167E7}"/>
          </ac:spMkLst>
        </pc:spChg>
        <pc:spChg chg="mod topLvl">
          <ac:chgData name="LAISSAOUI, Ghita" userId="ac8a0427-4948-4bf4-bb5c-4b9a41a9bd01" providerId="ADAL" clId="{8C4A23C6-A272-4AE5-87F4-94EB44631B18}" dt="2022-01-28T15:40:08.480" v="7021" actId="1076"/>
          <ac:spMkLst>
            <pc:docMk/>
            <pc:sldMk cId="119012224" sldId="2145706389"/>
            <ac:spMk id="73" creationId="{2E8D09C8-B9C4-4D8D-B62C-90F1916409CC}"/>
          </ac:spMkLst>
        </pc:spChg>
        <pc:spChg chg="mod topLvl">
          <ac:chgData name="LAISSAOUI, Ghita" userId="ac8a0427-4948-4bf4-bb5c-4b9a41a9bd01" providerId="ADAL" clId="{8C4A23C6-A272-4AE5-87F4-94EB44631B18}" dt="2022-01-25T15:38:43.643" v="3871" actId="20577"/>
          <ac:spMkLst>
            <pc:docMk/>
            <pc:sldMk cId="119012224" sldId="2145706389"/>
            <ac:spMk id="74" creationId="{A528627C-3364-4759-8F85-AA690F0650BB}"/>
          </ac:spMkLst>
        </pc:spChg>
        <pc:spChg chg="mod topLvl">
          <ac:chgData name="LAISSAOUI, Ghita" userId="ac8a0427-4948-4bf4-bb5c-4b9a41a9bd01" providerId="ADAL" clId="{8C4A23C6-A272-4AE5-87F4-94EB44631B18}" dt="2022-01-25T15:39:07.465" v="3924" actId="20577"/>
          <ac:spMkLst>
            <pc:docMk/>
            <pc:sldMk cId="119012224" sldId="2145706389"/>
            <ac:spMk id="79" creationId="{6F672FAE-17AF-49B7-AEDA-DF785E391660}"/>
          </ac:spMkLst>
        </pc:spChg>
        <pc:spChg chg="del mod topLvl">
          <ac:chgData name="LAISSAOUI, Ghita" userId="ac8a0427-4948-4bf4-bb5c-4b9a41a9bd01" providerId="ADAL" clId="{8C4A23C6-A272-4AE5-87F4-94EB44631B18}" dt="2022-01-25T15:27:28.745" v="3527" actId="478"/>
          <ac:spMkLst>
            <pc:docMk/>
            <pc:sldMk cId="119012224" sldId="2145706389"/>
            <ac:spMk id="80" creationId="{9E661A22-6A65-4C7D-ADC7-904017976B66}"/>
          </ac:spMkLst>
        </pc:spChg>
        <pc:spChg chg="del mod topLvl">
          <ac:chgData name="LAISSAOUI, Ghita" userId="ac8a0427-4948-4bf4-bb5c-4b9a41a9bd01" providerId="ADAL" clId="{8C4A23C6-A272-4AE5-87F4-94EB44631B18}" dt="2022-01-25T15:27:28.745" v="3527" actId="478"/>
          <ac:spMkLst>
            <pc:docMk/>
            <pc:sldMk cId="119012224" sldId="2145706389"/>
            <ac:spMk id="81" creationId="{807C10AB-FDE7-48AE-897A-234504EEBB52}"/>
          </ac:spMkLst>
        </pc:spChg>
        <pc:spChg chg="mod topLvl">
          <ac:chgData name="LAISSAOUI, Ghita" userId="ac8a0427-4948-4bf4-bb5c-4b9a41a9bd01" providerId="ADAL" clId="{8C4A23C6-A272-4AE5-87F4-94EB44631B18}" dt="2022-01-27T09:36:01.530" v="4175" actId="207"/>
          <ac:spMkLst>
            <pc:docMk/>
            <pc:sldMk cId="119012224" sldId="2145706389"/>
            <ac:spMk id="148" creationId="{8DE8BE4A-8ED5-434C-883E-668F220CBEED}"/>
          </ac:spMkLst>
        </pc:spChg>
        <pc:spChg chg="mod topLvl">
          <ac:chgData name="LAISSAOUI, Ghita" userId="ac8a0427-4948-4bf4-bb5c-4b9a41a9bd01" providerId="ADAL" clId="{8C4A23C6-A272-4AE5-87F4-94EB44631B18}" dt="2022-01-27T09:36:10.607" v="4177" actId="207"/>
          <ac:spMkLst>
            <pc:docMk/>
            <pc:sldMk cId="119012224" sldId="2145706389"/>
            <ac:spMk id="149" creationId="{D0CC348F-875C-4853-9380-ED1658B009CA}"/>
          </ac:spMkLst>
        </pc:spChg>
        <pc:spChg chg="mod topLvl">
          <ac:chgData name="LAISSAOUI, Ghita" userId="ac8a0427-4948-4bf4-bb5c-4b9a41a9bd01" providerId="ADAL" clId="{8C4A23C6-A272-4AE5-87F4-94EB44631B18}" dt="2022-01-27T09:36:14.197" v="4178" actId="207"/>
          <ac:spMkLst>
            <pc:docMk/>
            <pc:sldMk cId="119012224" sldId="2145706389"/>
            <ac:spMk id="150" creationId="{0B25C33F-E9B5-4554-B65E-7A47D154830D}"/>
          </ac:spMkLst>
        </pc:spChg>
        <pc:spChg chg="del mod topLvl">
          <ac:chgData name="LAISSAOUI, Ghita" userId="ac8a0427-4948-4bf4-bb5c-4b9a41a9bd01" providerId="ADAL" clId="{8C4A23C6-A272-4AE5-87F4-94EB44631B18}" dt="2022-01-25T15:27:28.745" v="3527" actId="478"/>
          <ac:spMkLst>
            <pc:docMk/>
            <pc:sldMk cId="119012224" sldId="2145706389"/>
            <ac:spMk id="151" creationId="{BCD20603-D8D0-4069-836A-9E665A93B199}"/>
          </ac:spMkLst>
        </pc:spChg>
        <pc:spChg chg="del mod topLvl">
          <ac:chgData name="LAISSAOUI, Ghita" userId="ac8a0427-4948-4bf4-bb5c-4b9a41a9bd01" providerId="ADAL" clId="{8C4A23C6-A272-4AE5-87F4-94EB44631B18}" dt="2022-01-25T15:27:28.745" v="3527" actId="478"/>
          <ac:spMkLst>
            <pc:docMk/>
            <pc:sldMk cId="119012224" sldId="2145706389"/>
            <ac:spMk id="152" creationId="{E49D3DE0-C509-4447-8D76-9C0FFA2F6490}"/>
          </ac:spMkLst>
        </pc:spChg>
        <pc:grpChg chg="del">
          <ac:chgData name="LAISSAOUI, Ghita" userId="ac8a0427-4948-4bf4-bb5c-4b9a41a9bd01" providerId="ADAL" clId="{8C4A23C6-A272-4AE5-87F4-94EB44631B18}" dt="2022-01-25T15:27:23.075" v="3526" actId="165"/>
          <ac:grpSpMkLst>
            <pc:docMk/>
            <pc:sldMk cId="119012224" sldId="2145706389"/>
            <ac:grpSpMk id="3" creationId="{53016F1F-1027-4E11-9425-3E530886BAF8}"/>
          </ac:grpSpMkLst>
        </pc:grpChg>
        <pc:grpChg chg="add del mod">
          <ac:chgData name="LAISSAOUI, Ghita" userId="ac8a0427-4948-4bf4-bb5c-4b9a41a9bd01" providerId="ADAL" clId="{8C4A23C6-A272-4AE5-87F4-94EB44631B18}" dt="2022-01-25T15:28:48.947" v="3538" actId="165"/>
          <ac:grpSpMkLst>
            <pc:docMk/>
            <pc:sldMk cId="119012224" sldId="2145706389"/>
            <ac:grpSpMk id="4" creationId="{62588D80-9ACF-48F0-854E-F3AC2AB4DBAF}"/>
          </ac:grpSpMkLst>
        </pc:grpChg>
        <pc:grpChg chg="add mod">
          <ac:chgData name="LAISSAOUI, Ghita" userId="ac8a0427-4948-4bf4-bb5c-4b9a41a9bd01" providerId="ADAL" clId="{8C4A23C6-A272-4AE5-87F4-94EB44631B18}" dt="2022-01-25T15:35:04.788" v="3761" actId="1076"/>
          <ac:grpSpMkLst>
            <pc:docMk/>
            <pc:sldMk cId="119012224" sldId="2145706389"/>
            <ac:grpSpMk id="7" creationId="{CD7E631E-F7E8-4844-878A-0D3EAC777F46}"/>
          </ac:grpSpMkLst>
        </pc:grpChg>
        <pc:picChg chg="add del mod modCrop">
          <ac:chgData name="LAISSAOUI, Ghita" userId="ac8a0427-4948-4bf4-bb5c-4b9a41a9bd01" providerId="ADAL" clId="{8C4A23C6-A272-4AE5-87F4-94EB44631B18}" dt="2022-01-25T15:39:09.723" v="3925" actId="478"/>
          <ac:picMkLst>
            <pc:docMk/>
            <pc:sldMk cId="119012224" sldId="2145706389"/>
            <ac:picMk id="26" creationId="{4DFB8AAE-E443-443E-9449-0EFB8072B32C}"/>
          </ac:picMkLst>
        </pc:picChg>
      </pc:sldChg>
      <pc:sldChg chg="addSp delSp modSp add mod">
        <pc:chgData name="LAISSAOUI, Ghita" userId="ac8a0427-4948-4bf4-bb5c-4b9a41a9bd01" providerId="ADAL" clId="{8C4A23C6-A272-4AE5-87F4-94EB44631B18}" dt="2022-02-01T08:31:32.447" v="9323" actId="1036"/>
        <pc:sldMkLst>
          <pc:docMk/>
          <pc:sldMk cId="2812766509" sldId="2147229218"/>
        </pc:sldMkLst>
        <pc:spChg chg="mod">
          <ac:chgData name="LAISSAOUI, Ghita" userId="ac8a0427-4948-4bf4-bb5c-4b9a41a9bd01" providerId="ADAL" clId="{8C4A23C6-A272-4AE5-87F4-94EB44631B18}" dt="2022-02-01T08:31:32.447" v="9323" actId="1036"/>
          <ac:spMkLst>
            <pc:docMk/>
            <pc:sldMk cId="2812766509" sldId="2147229218"/>
            <ac:spMk id="2" creationId="{0582C09B-58B0-4950-B0DC-544ACD08771A}"/>
          </ac:spMkLst>
        </pc:spChg>
        <pc:spChg chg="del mod">
          <ac:chgData name="LAISSAOUI, Ghita" userId="ac8a0427-4948-4bf4-bb5c-4b9a41a9bd01" providerId="ADAL" clId="{8C4A23C6-A272-4AE5-87F4-94EB44631B18}" dt="2022-02-01T08:31:02.844" v="9309" actId="478"/>
          <ac:spMkLst>
            <pc:docMk/>
            <pc:sldMk cId="2812766509" sldId="2147229218"/>
            <ac:spMk id="3" creationId="{08CF1E98-F07C-4D88-99EB-BBE3C7782A34}"/>
          </ac:spMkLst>
        </pc:spChg>
        <pc:spChg chg="add del mod">
          <ac:chgData name="LAISSAOUI, Ghita" userId="ac8a0427-4948-4bf4-bb5c-4b9a41a9bd01" providerId="ADAL" clId="{8C4A23C6-A272-4AE5-87F4-94EB44631B18}" dt="2022-02-01T08:30:58.888" v="9308" actId="20577"/>
          <ac:spMkLst>
            <pc:docMk/>
            <pc:sldMk cId="2812766509" sldId="2147229218"/>
            <ac:spMk id="4" creationId="{872016CB-E4BA-4771-AE23-90C941997D64}"/>
          </ac:spMkLst>
        </pc:spChg>
        <pc:spChg chg="add del mod">
          <ac:chgData name="LAISSAOUI, Ghita" userId="ac8a0427-4948-4bf4-bb5c-4b9a41a9bd01" providerId="ADAL" clId="{8C4A23C6-A272-4AE5-87F4-94EB44631B18}" dt="2022-02-01T08:31:05.975" v="9311" actId="478"/>
          <ac:spMkLst>
            <pc:docMk/>
            <pc:sldMk cId="2812766509" sldId="2147229218"/>
            <ac:spMk id="6" creationId="{9F98A9C5-CFE5-4451-90A6-C7EBF6B97D84}"/>
          </ac:spMkLst>
        </pc:spChg>
      </pc:sldChg>
      <pc:sldChg chg="modSp add del mod">
        <pc:chgData name="LAISSAOUI, Ghita" userId="ac8a0427-4948-4bf4-bb5c-4b9a41a9bd01" providerId="ADAL" clId="{8C4A23C6-A272-4AE5-87F4-94EB44631B18}" dt="2022-01-31T06:47:54.535" v="7686" actId="47"/>
        <pc:sldMkLst>
          <pc:docMk/>
          <pc:sldMk cId="2979388308" sldId="2147229218"/>
        </pc:sldMkLst>
        <pc:spChg chg="mod">
          <ac:chgData name="LAISSAOUI, Ghita" userId="ac8a0427-4948-4bf4-bb5c-4b9a41a9bd01" providerId="ADAL" clId="{8C4A23C6-A272-4AE5-87F4-94EB44631B18}" dt="2022-01-31T06:47:26.961" v="7685" actId="20577"/>
          <ac:spMkLst>
            <pc:docMk/>
            <pc:sldMk cId="2979388308" sldId="2147229218"/>
            <ac:spMk id="2" creationId="{2DB393F3-5B23-4A79-9645-AA86DF84C740}"/>
          </ac:spMkLst>
        </pc:spChg>
        <pc:spChg chg="mod">
          <ac:chgData name="LAISSAOUI, Ghita" userId="ac8a0427-4948-4bf4-bb5c-4b9a41a9bd01" providerId="ADAL" clId="{8C4A23C6-A272-4AE5-87F4-94EB44631B18}" dt="2022-01-31T06:47:21.006" v="7683" actId="20577"/>
          <ac:spMkLst>
            <pc:docMk/>
            <pc:sldMk cId="2979388308" sldId="2147229218"/>
            <ac:spMk id="3" creationId="{4A0A29A1-08D2-4C57-A20D-FC16E10C9AA6}"/>
          </ac:spMkLst>
        </pc:spChg>
      </pc:sldChg>
      <pc:sldChg chg="add del">
        <pc:chgData name="LAISSAOUI, Ghita" userId="ac8a0427-4948-4bf4-bb5c-4b9a41a9bd01" providerId="ADAL" clId="{8C4A23C6-A272-4AE5-87F4-94EB44631B18}" dt="2022-02-01T08:47:02.732" v="9435" actId="47"/>
        <pc:sldMkLst>
          <pc:docMk/>
          <pc:sldMk cId="3952758179" sldId="2147229219"/>
        </pc:sldMkLst>
      </pc:sldChg>
      <pc:sldChg chg="del">
        <pc:chgData name="LAISSAOUI, Ghita" userId="ac8a0427-4948-4bf4-bb5c-4b9a41a9bd01" providerId="ADAL" clId="{8C4A23C6-A272-4AE5-87F4-94EB44631B18}" dt="2022-01-31T07:52:05.236" v="8794" actId="47"/>
        <pc:sldMkLst>
          <pc:docMk/>
          <pc:sldMk cId="170436989" sldId="2147229378"/>
        </pc:sldMkLst>
      </pc:sldChg>
      <pc:sldChg chg="del">
        <pc:chgData name="LAISSAOUI, Ghita" userId="ac8a0427-4948-4bf4-bb5c-4b9a41a9bd01" providerId="ADAL" clId="{8C4A23C6-A272-4AE5-87F4-94EB44631B18}" dt="2022-01-31T07:07:24.410" v="8091" actId="47"/>
        <pc:sldMkLst>
          <pc:docMk/>
          <pc:sldMk cId="3283670181" sldId="2147229379"/>
        </pc:sldMkLst>
      </pc:sldChg>
      <pc:sldChg chg="delSp modSp mod modNotesTx">
        <pc:chgData name="LAISSAOUI, Ghita" userId="ac8a0427-4948-4bf4-bb5c-4b9a41a9bd01" providerId="ADAL" clId="{8C4A23C6-A272-4AE5-87F4-94EB44631B18}" dt="2022-01-31T07:04:18.218" v="8080" actId="478"/>
        <pc:sldMkLst>
          <pc:docMk/>
          <pc:sldMk cId="2511328651" sldId="2147229380"/>
        </pc:sldMkLst>
        <pc:spChg chg="mod">
          <ac:chgData name="LAISSAOUI, Ghita" userId="ac8a0427-4948-4bf4-bb5c-4b9a41a9bd01" providerId="ADAL" clId="{8C4A23C6-A272-4AE5-87F4-94EB44631B18}" dt="2022-01-24T17:56:47.831" v="34" actId="14100"/>
          <ac:spMkLst>
            <pc:docMk/>
            <pc:sldMk cId="2511328651" sldId="2147229380"/>
            <ac:spMk id="10" creationId="{78E9C112-D4E1-438D-9561-1014110B673D}"/>
          </ac:spMkLst>
        </pc:spChg>
        <pc:spChg chg="del">
          <ac:chgData name="LAISSAOUI, Ghita" userId="ac8a0427-4948-4bf4-bb5c-4b9a41a9bd01" providerId="ADAL" clId="{8C4A23C6-A272-4AE5-87F4-94EB44631B18}" dt="2022-01-31T07:04:18.218" v="8080" actId="478"/>
          <ac:spMkLst>
            <pc:docMk/>
            <pc:sldMk cId="2511328651" sldId="2147229380"/>
            <ac:spMk id="11" creationId="{069A8510-AFDF-46F3-909F-AE031134AA75}"/>
          </ac:spMkLst>
        </pc:spChg>
        <pc:spChg chg="del mod">
          <ac:chgData name="LAISSAOUI, Ghita" userId="ac8a0427-4948-4bf4-bb5c-4b9a41a9bd01" providerId="ADAL" clId="{8C4A23C6-A272-4AE5-87F4-94EB44631B18}" dt="2022-01-31T07:04:16.171" v="8079" actId="478"/>
          <ac:spMkLst>
            <pc:docMk/>
            <pc:sldMk cId="2511328651" sldId="2147229380"/>
            <ac:spMk id="12" creationId="{DF85BB92-90C1-43DE-85F4-A3CD415FF9E0}"/>
          </ac:spMkLst>
        </pc:spChg>
        <pc:spChg chg="del mod">
          <ac:chgData name="LAISSAOUI, Ghita" userId="ac8a0427-4948-4bf4-bb5c-4b9a41a9bd01" providerId="ADAL" clId="{8C4A23C6-A272-4AE5-87F4-94EB44631B18}" dt="2022-01-31T07:04:16.171" v="8079" actId="478"/>
          <ac:spMkLst>
            <pc:docMk/>
            <pc:sldMk cId="2511328651" sldId="2147229380"/>
            <ac:spMk id="14" creationId="{46783008-84B6-4DB5-97B4-F41C2785741F}"/>
          </ac:spMkLst>
        </pc:spChg>
        <pc:spChg chg="del mod">
          <ac:chgData name="LAISSAOUI, Ghita" userId="ac8a0427-4948-4bf4-bb5c-4b9a41a9bd01" providerId="ADAL" clId="{8C4A23C6-A272-4AE5-87F4-94EB44631B18}" dt="2022-01-31T07:04:16.171" v="8079" actId="478"/>
          <ac:spMkLst>
            <pc:docMk/>
            <pc:sldMk cId="2511328651" sldId="2147229380"/>
            <ac:spMk id="15" creationId="{F1D98A11-A787-4104-84BD-977905EE34B1}"/>
          </ac:spMkLst>
        </pc:spChg>
        <pc:spChg chg="del mod">
          <ac:chgData name="LAISSAOUI, Ghita" userId="ac8a0427-4948-4bf4-bb5c-4b9a41a9bd01" providerId="ADAL" clId="{8C4A23C6-A272-4AE5-87F4-94EB44631B18}" dt="2022-01-31T07:04:16.171" v="8079" actId="478"/>
          <ac:spMkLst>
            <pc:docMk/>
            <pc:sldMk cId="2511328651" sldId="2147229380"/>
            <ac:spMk id="16" creationId="{5204DFF9-BDC8-411B-900D-95F1207E4ED7}"/>
          </ac:spMkLst>
        </pc:spChg>
        <pc:spChg chg="del mod">
          <ac:chgData name="LAISSAOUI, Ghita" userId="ac8a0427-4948-4bf4-bb5c-4b9a41a9bd01" providerId="ADAL" clId="{8C4A23C6-A272-4AE5-87F4-94EB44631B18}" dt="2022-01-31T07:04:16.171" v="8079" actId="478"/>
          <ac:spMkLst>
            <pc:docMk/>
            <pc:sldMk cId="2511328651" sldId="2147229380"/>
            <ac:spMk id="17" creationId="{A27D0D46-4377-4BC0-A968-0FC76A65116A}"/>
          </ac:spMkLst>
        </pc:spChg>
        <pc:spChg chg="del mod">
          <ac:chgData name="LAISSAOUI, Ghita" userId="ac8a0427-4948-4bf4-bb5c-4b9a41a9bd01" providerId="ADAL" clId="{8C4A23C6-A272-4AE5-87F4-94EB44631B18}" dt="2022-01-31T07:04:16.171" v="8079" actId="478"/>
          <ac:spMkLst>
            <pc:docMk/>
            <pc:sldMk cId="2511328651" sldId="2147229380"/>
            <ac:spMk id="19" creationId="{242B5C7C-D790-4448-9537-6CE3CAF80B84}"/>
          </ac:spMkLst>
        </pc:spChg>
        <pc:picChg chg="del">
          <ac:chgData name="LAISSAOUI, Ghita" userId="ac8a0427-4948-4bf4-bb5c-4b9a41a9bd01" providerId="ADAL" clId="{8C4A23C6-A272-4AE5-87F4-94EB44631B18}" dt="2022-01-31T07:04:16.171" v="8079" actId="478"/>
          <ac:picMkLst>
            <pc:docMk/>
            <pc:sldMk cId="2511328651" sldId="2147229380"/>
            <ac:picMk id="13" creationId="{5F1EF2A6-FE8C-47E5-97F1-BC638FDAAD38}"/>
          </ac:picMkLst>
        </pc:picChg>
      </pc:sldChg>
      <pc:sldChg chg="del">
        <pc:chgData name="LAISSAOUI, Ghita" userId="ac8a0427-4948-4bf4-bb5c-4b9a41a9bd01" providerId="ADAL" clId="{8C4A23C6-A272-4AE5-87F4-94EB44631B18}" dt="2022-01-31T07:14:14.789" v="8185" actId="47"/>
        <pc:sldMkLst>
          <pc:docMk/>
          <pc:sldMk cId="4091854573" sldId="2147229381"/>
        </pc:sldMkLst>
      </pc:sldChg>
      <pc:sldChg chg="addSp delSp modSp mod ord modNotesTx">
        <pc:chgData name="LAISSAOUI, Ghita" userId="ac8a0427-4948-4bf4-bb5c-4b9a41a9bd01" providerId="ADAL" clId="{8C4A23C6-A272-4AE5-87F4-94EB44631B18}" dt="2022-01-31T07:14:24.703" v="8187"/>
        <pc:sldMkLst>
          <pc:docMk/>
          <pc:sldMk cId="3429431810" sldId="2147229382"/>
        </pc:sldMkLst>
        <pc:spChg chg="del">
          <ac:chgData name="LAISSAOUI, Ghita" userId="ac8a0427-4948-4bf4-bb5c-4b9a41a9bd01" providerId="ADAL" clId="{8C4A23C6-A272-4AE5-87F4-94EB44631B18}" dt="2022-01-28T15:50:05.836" v="7241" actId="478"/>
          <ac:spMkLst>
            <pc:docMk/>
            <pc:sldMk cId="3429431810" sldId="2147229382"/>
            <ac:spMk id="3" creationId="{C399DE0E-403B-4F99-8A29-CE7C76A756F1}"/>
          </ac:spMkLst>
        </pc:spChg>
        <pc:spChg chg="del">
          <ac:chgData name="LAISSAOUI, Ghita" userId="ac8a0427-4948-4bf4-bb5c-4b9a41a9bd01" providerId="ADAL" clId="{8C4A23C6-A272-4AE5-87F4-94EB44631B18}" dt="2022-01-25T13:56:54.906" v="2773" actId="478"/>
          <ac:spMkLst>
            <pc:docMk/>
            <pc:sldMk cId="3429431810" sldId="2147229382"/>
            <ac:spMk id="5" creationId="{C81341B8-0E7F-4704-8B51-0EA921E20B63}"/>
          </ac:spMkLst>
        </pc:spChg>
        <pc:spChg chg="del">
          <ac:chgData name="LAISSAOUI, Ghita" userId="ac8a0427-4948-4bf4-bb5c-4b9a41a9bd01" providerId="ADAL" clId="{8C4A23C6-A272-4AE5-87F4-94EB44631B18}" dt="2022-01-25T13:56:51.058" v="2772" actId="478"/>
          <ac:spMkLst>
            <pc:docMk/>
            <pc:sldMk cId="3429431810" sldId="2147229382"/>
            <ac:spMk id="6" creationId="{43B827BB-1D1E-407A-9B21-58B1FFB36E71}"/>
          </ac:spMkLst>
        </pc:spChg>
        <pc:spChg chg="mod">
          <ac:chgData name="LAISSAOUI, Ghita" userId="ac8a0427-4948-4bf4-bb5c-4b9a41a9bd01" providerId="ADAL" clId="{8C4A23C6-A272-4AE5-87F4-94EB44631B18}" dt="2022-01-27T15:32:14.602" v="5751" actId="555"/>
          <ac:spMkLst>
            <pc:docMk/>
            <pc:sldMk cId="3429431810" sldId="2147229382"/>
            <ac:spMk id="8" creationId="{93FD5088-6A76-4416-A61E-EB06DE05F6FC}"/>
          </ac:spMkLst>
        </pc:spChg>
        <pc:spChg chg="mod">
          <ac:chgData name="LAISSAOUI, Ghita" userId="ac8a0427-4948-4bf4-bb5c-4b9a41a9bd01" providerId="ADAL" clId="{8C4A23C6-A272-4AE5-87F4-94EB44631B18}" dt="2022-01-27T15:32:14.602" v="5751" actId="555"/>
          <ac:spMkLst>
            <pc:docMk/>
            <pc:sldMk cId="3429431810" sldId="2147229382"/>
            <ac:spMk id="9" creationId="{C21F8C94-5273-48E9-AD72-CE4854AAD7C9}"/>
          </ac:spMkLst>
        </pc:spChg>
        <pc:spChg chg="add mod">
          <ac:chgData name="LAISSAOUI, Ghita" userId="ac8a0427-4948-4bf4-bb5c-4b9a41a9bd01" providerId="ADAL" clId="{8C4A23C6-A272-4AE5-87F4-94EB44631B18}" dt="2022-01-27T13:37:44.489" v="4813" actId="571"/>
          <ac:spMkLst>
            <pc:docMk/>
            <pc:sldMk cId="3429431810" sldId="2147229382"/>
            <ac:spMk id="42" creationId="{CE8A2E3E-7EBD-433B-A7C0-5AEE98A7B611}"/>
          </ac:spMkLst>
        </pc:spChg>
        <pc:spChg chg="add mod">
          <ac:chgData name="LAISSAOUI, Ghita" userId="ac8a0427-4948-4bf4-bb5c-4b9a41a9bd01" providerId="ADAL" clId="{8C4A23C6-A272-4AE5-87F4-94EB44631B18}" dt="2022-01-27T13:37:44.489" v="4813" actId="571"/>
          <ac:spMkLst>
            <pc:docMk/>
            <pc:sldMk cId="3429431810" sldId="2147229382"/>
            <ac:spMk id="43" creationId="{68A1FB4E-AD03-4D59-A720-E95F1A0E37D7}"/>
          </ac:spMkLst>
        </pc:spChg>
        <pc:spChg chg="del">
          <ac:chgData name="LAISSAOUI, Ghita" userId="ac8a0427-4948-4bf4-bb5c-4b9a41a9bd01" providerId="ADAL" clId="{8C4A23C6-A272-4AE5-87F4-94EB44631B18}" dt="2022-01-27T13:23:47.859" v="4642" actId="478"/>
          <ac:spMkLst>
            <pc:docMk/>
            <pc:sldMk cId="3429431810" sldId="2147229382"/>
            <ac:spMk id="47" creationId="{3A9D8BEF-84F8-4616-BA92-F11B2C07874D}"/>
          </ac:spMkLst>
        </pc:spChg>
        <pc:spChg chg="mod">
          <ac:chgData name="LAISSAOUI, Ghita" userId="ac8a0427-4948-4bf4-bb5c-4b9a41a9bd01" providerId="ADAL" clId="{8C4A23C6-A272-4AE5-87F4-94EB44631B18}" dt="2022-01-27T15:31:54.778" v="5748" actId="555"/>
          <ac:spMkLst>
            <pc:docMk/>
            <pc:sldMk cId="3429431810" sldId="2147229382"/>
            <ac:spMk id="48" creationId="{DE402871-DCEC-458F-BD23-C5F926FCC52D}"/>
          </ac:spMkLst>
        </pc:spChg>
        <pc:spChg chg="mod">
          <ac:chgData name="LAISSAOUI, Ghita" userId="ac8a0427-4948-4bf4-bb5c-4b9a41a9bd01" providerId="ADAL" clId="{8C4A23C6-A272-4AE5-87F4-94EB44631B18}" dt="2022-01-27T15:31:54.778" v="5748" actId="555"/>
          <ac:spMkLst>
            <pc:docMk/>
            <pc:sldMk cId="3429431810" sldId="2147229382"/>
            <ac:spMk id="49" creationId="{299E9F4C-4906-49A4-B44D-60A6F0277F53}"/>
          </ac:spMkLst>
        </pc:spChg>
        <pc:spChg chg="mod">
          <ac:chgData name="LAISSAOUI, Ghita" userId="ac8a0427-4948-4bf4-bb5c-4b9a41a9bd01" providerId="ADAL" clId="{8C4A23C6-A272-4AE5-87F4-94EB44631B18}" dt="2022-01-27T15:31:37.849" v="5746" actId="555"/>
          <ac:spMkLst>
            <pc:docMk/>
            <pc:sldMk cId="3429431810" sldId="2147229382"/>
            <ac:spMk id="50" creationId="{57197083-0C6E-4E7B-AD3C-BCDF05FB33DE}"/>
          </ac:spMkLst>
        </pc:spChg>
        <pc:spChg chg="del">
          <ac:chgData name="LAISSAOUI, Ghita" userId="ac8a0427-4948-4bf4-bb5c-4b9a41a9bd01" providerId="ADAL" clId="{8C4A23C6-A272-4AE5-87F4-94EB44631B18}" dt="2022-01-27T13:23:47.859" v="4642" actId="478"/>
          <ac:spMkLst>
            <pc:docMk/>
            <pc:sldMk cId="3429431810" sldId="2147229382"/>
            <ac:spMk id="51" creationId="{981D01E1-3EA4-4883-81EA-4D3FA3C66D0D}"/>
          </ac:spMkLst>
        </pc:spChg>
        <pc:spChg chg="mod">
          <ac:chgData name="LAISSAOUI, Ghita" userId="ac8a0427-4948-4bf4-bb5c-4b9a41a9bd01" providerId="ADAL" clId="{8C4A23C6-A272-4AE5-87F4-94EB44631B18}" dt="2022-01-27T15:31:54.778" v="5748" actId="555"/>
          <ac:spMkLst>
            <pc:docMk/>
            <pc:sldMk cId="3429431810" sldId="2147229382"/>
            <ac:spMk id="52" creationId="{9DAD4285-15B7-4BAF-B687-48C12A9DB898}"/>
          </ac:spMkLst>
        </pc:spChg>
        <pc:spChg chg="mod">
          <ac:chgData name="LAISSAOUI, Ghita" userId="ac8a0427-4948-4bf4-bb5c-4b9a41a9bd01" providerId="ADAL" clId="{8C4A23C6-A272-4AE5-87F4-94EB44631B18}" dt="2022-01-27T15:31:37.849" v="5746" actId="555"/>
          <ac:spMkLst>
            <pc:docMk/>
            <pc:sldMk cId="3429431810" sldId="2147229382"/>
            <ac:spMk id="53" creationId="{19AF14D9-AA50-4F85-BBA3-22484A4BB56A}"/>
          </ac:spMkLst>
        </pc:spChg>
        <pc:spChg chg="mod">
          <ac:chgData name="LAISSAOUI, Ghita" userId="ac8a0427-4948-4bf4-bb5c-4b9a41a9bd01" providerId="ADAL" clId="{8C4A23C6-A272-4AE5-87F4-94EB44631B18}" dt="2022-01-27T15:31:37.849" v="5746" actId="555"/>
          <ac:spMkLst>
            <pc:docMk/>
            <pc:sldMk cId="3429431810" sldId="2147229382"/>
            <ac:spMk id="54" creationId="{21082FAA-7789-42E2-BCF4-B951956E6F22}"/>
          </ac:spMkLst>
        </pc:spChg>
        <pc:spChg chg="mod">
          <ac:chgData name="LAISSAOUI, Ghita" userId="ac8a0427-4948-4bf4-bb5c-4b9a41a9bd01" providerId="ADAL" clId="{8C4A23C6-A272-4AE5-87F4-94EB44631B18}" dt="2022-01-28T15:51:06.264" v="7275" actId="20577"/>
          <ac:spMkLst>
            <pc:docMk/>
            <pc:sldMk cId="3429431810" sldId="2147229382"/>
            <ac:spMk id="55" creationId="{A4CFBC5E-817B-40BB-9F5F-9641ADF167EF}"/>
          </ac:spMkLst>
        </pc:spChg>
        <pc:spChg chg="mod">
          <ac:chgData name="LAISSAOUI, Ghita" userId="ac8a0427-4948-4bf4-bb5c-4b9a41a9bd01" providerId="ADAL" clId="{8C4A23C6-A272-4AE5-87F4-94EB44631B18}" dt="2022-01-28T15:52:38.955" v="7317" actId="20577"/>
          <ac:spMkLst>
            <pc:docMk/>
            <pc:sldMk cId="3429431810" sldId="2147229382"/>
            <ac:spMk id="56" creationId="{80F76901-61F2-4EEC-B746-896B2576312D}"/>
          </ac:spMkLst>
        </pc:spChg>
        <pc:spChg chg="mod">
          <ac:chgData name="LAISSAOUI, Ghita" userId="ac8a0427-4948-4bf4-bb5c-4b9a41a9bd01" providerId="ADAL" clId="{8C4A23C6-A272-4AE5-87F4-94EB44631B18}" dt="2022-01-27T15:31:54.778" v="5748" actId="555"/>
          <ac:spMkLst>
            <pc:docMk/>
            <pc:sldMk cId="3429431810" sldId="2147229382"/>
            <ac:spMk id="57" creationId="{EF95F2BB-712B-440A-B4CA-4EBAAA2C4184}"/>
          </ac:spMkLst>
        </pc:spChg>
        <pc:spChg chg="mod">
          <ac:chgData name="LAISSAOUI, Ghita" userId="ac8a0427-4948-4bf4-bb5c-4b9a41a9bd01" providerId="ADAL" clId="{8C4A23C6-A272-4AE5-87F4-94EB44631B18}" dt="2022-01-27T15:31:37.849" v="5746" actId="555"/>
          <ac:spMkLst>
            <pc:docMk/>
            <pc:sldMk cId="3429431810" sldId="2147229382"/>
            <ac:spMk id="58" creationId="{77C2F7C1-0064-4B10-B425-AF3928FE8B6B}"/>
          </ac:spMkLst>
        </pc:spChg>
        <pc:spChg chg="mod">
          <ac:chgData name="LAISSAOUI, Ghita" userId="ac8a0427-4948-4bf4-bb5c-4b9a41a9bd01" providerId="ADAL" clId="{8C4A23C6-A272-4AE5-87F4-94EB44631B18}" dt="2022-01-27T15:31:37.849" v="5746" actId="555"/>
          <ac:spMkLst>
            <pc:docMk/>
            <pc:sldMk cId="3429431810" sldId="2147229382"/>
            <ac:spMk id="59" creationId="{F83B690D-A917-4C97-A7DB-6D2D5BF1B3ED}"/>
          </ac:spMkLst>
        </pc:spChg>
        <pc:spChg chg="mod">
          <ac:chgData name="LAISSAOUI, Ghita" userId="ac8a0427-4948-4bf4-bb5c-4b9a41a9bd01" providerId="ADAL" clId="{8C4A23C6-A272-4AE5-87F4-94EB44631B18}" dt="2022-01-28T15:52:33.287" v="7315" actId="20577"/>
          <ac:spMkLst>
            <pc:docMk/>
            <pc:sldMk cId="3429431810" sldId="2147229382"/>
            <ac:spMk id="60" creationId="{E08C3059-F6D9-40B2-B757-97F6A4766553}"/>
          </ac:spMkLst>
        </pc:spChg>
        <pc:picChg chg="add mod ord modCrop">
          <ac:chgData name="LAISSAOUI, Ghita" userId="ac8a0427-4948-4bf4-bb5c-4b9a41a9bd01" providerId="ADAL" clId="{8C4A23C6-A272-4AE5-87F4-94EB44631B18}" dt="2022-01-27T15:32:03.770" v="5749" actId="555"/>
          <ac:picMkLst>
            <pc:docMk/>
            <pc:sldMk cId="3429431810" sldId="2147229382"/>
            <ac:picMk id="4" creationId="{D6BD6FAD-1664-4C13-80E1-46233E062F12}"/>
          </ac:picMkLst>
        </pc:picChg>
        <pc:picChg chg="add mod ord modCrop">
          <ac:chgData name="LAISSAOUI, Ghita" userId="ac8a0427-4948-4bf4-bb5c-4b9a41a9bd01" providerId="ADAL" clId="{8C4A23C6-A272-4AE5-87F4-94EB44631B18}" dt="2022-01-27T15:31:47.330" v="5747" actId="555"/>
          <ac:picMkLst>
            <pc:docMk/>
            <pc:sldMk cId="3429431810" sldId="2147229382"/>
            <ac:picMk id="6" creationId="{44BD6AC5-67B3-47FC-83B1-581C49979B0A}"/>
          </ac:picMkLst>
        </pc:picChg>
        <pc:picChg chg="mod">
          <ac:chgData name="LAISSAOUI, Ghita" userId="ac8a0427-4948-4bf4-bb5c-4b9a41a9bd01" providerId="ADAL" clId="{8C4A23C6-A272-4AE5-87F4-94EB44631B18}" dt="2022-01-27T15:32:03.770" v="5749" actId="555"/>
          <ac:picMkLst>
            <pc:docMk/>
            <pc:sldMk cId="3429431810" sldId="2147229382"/>
            <ac:picMk id="10" creationId="{4A5DAC7C-3B8A-4681-A11A-03C5304E3482}"/>
          </ac:picMkLst>
        </pc:picChg>
        <pc:picChg chg="del">
          <ac:chgData name="LAISSAOUI, Ghita" userId="ac8a0427-4948-4bf4-bb5c-4b9a41a9bd01" providerId="ADAL" clId="{8C4A23C6-A272-4AE5-87F4-94EB44631B18}" dt="2022-01-27T13:23:47.859" v="4642" actId="478"/>
          <ac:picMkLst>
            <pc:docMk/>
            <pc:sldMk cId="3429431810" sldId="2147229382"/>
            <ac:picMk id="12" creationId="{ED848EB8-5CE8-4E21-A0C8-CECCEC64B1EF}"/>
          </ac:picMkLst>
        </pc:picChg>
        <pc:picChg chg="add del">
          <ac:chgData name="LAISSAOUI, Ghita" userId="ac8a0427-4948-4bf4-bb5c-4b9a41a9bd01" providerId="ADAL" clId="{8C4A23C6-A272-4AE5-87F4-94EB44631B18}" dt="2022-01-27T13:22:29.962" v="4588" actId="478"/>
          <ac:picMkLst>
            <pc:docMk/>
            <pc:sldMk cId="3429431810" sldId="2147229382"/>
            <ac:picMk id="14" creationId="{569A6EFE-326F-4EBC-B0FC-4582E34FAAAC}"/>
          </ac:picMkLst>
        </pc:picChg>
        <pc:picChg chg="del mod">
          <ac:chgData name="LAISSAOUI, Ghita" userId="ac8a0427-4948-4bf4-bb5c-4b9a41a9bd01" providerId="ADAL" clId="{8C4A23C6-A272-4AE5-87F4-94EB44631B18}" dt="2022-01-27T14:40:27.508" v="5183" actId="478"/>
          <ac:picMkLst>
            <pc:docMk/>
            <pc:sldMk cId="3429431810" sldId="2147229382"/>
            <ac:picMk id="16" creationId="{9CF8CC30-7A72-41D1-BA9B-6E21CB39166F}"/>
          </ac:picMkLst>
        </pc:picChg>
        <pc:picChg chg="mod">
          <ac:chgData name="LAISSAOUI, Ghita" userId="ac8a0427-4948-4bf4-bb5c-4b9a41a9bd01" providerId="ADAL" clId="{8C4A23C6-A272-4AE5-87F4-94EB44631B18}" dt="2022-01-27T15:32:03.770" v="5749" actId="555"/>
          <ac:picMkLst>
            <pc:docMk/>
            <pc:sldMk cId="3429431810" sldId="2147229382"/>
            <ac:picMk id="18" creationId="{DAE8C610-16B0-4B7B-907E-AE23C0C9E2BB}"/>
          </ac:picMkLst>
        </pc:picChg>
        <pc:picChg chg="mod">
          <ac:chgData name="LAISSAOUI, Ghita" userId="ac8a0427-4948-4bf4-bb5c-4b9a41a9bd01" providerId="ADAL" clId="{8C4A23C6-A272-4AE5-87F4-94EB44631B18}" dt="2022-01-27T15:31:47.330" v="5747" actId="555"/>
          <ac:picMkLst>
            <pc:docMk/>
            <pc:sldMk cId="3429431810" sldId="2147229382"/>
            <ac:picMk id="22" creationId="{48807ED5-5A67-4D64-8FD0-AE012E6C8E08}"/>
          </ac:picMkLst>
        </pc:picChg>
        <pc:picChg chg="mod">
          <ac:chgData name="LAISSAOUI, Ghita" userId="ac8a0427-4948-4bf4-bb5c-4b9a41a9bd01" providerId="ADAL" clId="{8C4A23C6-A272-4AE5-87F4-94EB44631B18}" dt="2022-01-27T15:32:03.770" v="5749" actId="555"/>
          <ac:picMkLst>
            <pc:docMk/>
            <pc:sldMk cId="3429431810" sldId="2147229382"/>
            <ac:picMk id="24" creationId="{FFCF26F1-9A82-470D-860A-89F600FBC77C}"/>
          </ac:picMkLst>
        </pc:picChg>
        <pc:picChg chg="mod">
          <ac:chgData name="LAISSAOUI, Ghita" userId="ac8a0427-4948-4bf4-bb5c-4b9a41a9bd01" providerId="ADAL" clId="{8C4A23C6-A272-4AE5-87F4-94EB44631B18}" dt="2022-01-27T15:31:47.330" v="5747" actId="555"/>
          <ac:picMkLst>
            <pc:docMk/>
            <pc:sldMk cId="3429431810" sldId="2147229382"/>
            <ac:picMk id="26" creationId="{3E543EA4-DA82-4049-AFD3-6A9FA1DE6624}"/>
          </ac:picMkLst>
        </pc:picChg>
        <pc:picChg chg="mod">
          <ac:chgData name="LAISSAOUI, Ghita" userId="ac8a0427-4948-4bf4-bb5c-4b9a41a9bd01" providerId="ADAL" clId="{8C4A23C6-A272-4AE5-87F4-94EB44631B18}" dt="2022-01-27T15:32:03.770" v="5749" actId="555"/>
          <ac:picMkLst>
            <pc:docMk/>
            <pc:sldMk cId="3429431810" sldId="2147229382"/>
            <ac:picMk id="28" creationId="{974B2EB6-A4BD-46F4-A3CD-C9F67E2B183A}"/>
          </ac:picMkLst>
        </pc:picChg>
        <pc:picChg chg="del mod">
          <ac:chgData name="LAISSAOUI, Ghita" userId="ac8a0427-4948-4bf4-bb5c-4b9a41a9bd01" providerId="ADAL" clId="{8C4A23C6-A272-4AE5-87F4-94EB44631B18}" dt="2022-01-27T13:31:55.685" v="4806" actId="21"/>
          <ac:picMkLst>
            <pc:docMk/>
            <pc:sldMk cId="3429431810" sldId="2147229382"/>
            <ac:picMk id="30" creationId="{C620EB51-C8FC-402D-A6C1-7AC29EDC226D}"/>
          </ac:picMkLst>
        </pc:picChg>
        <pc:picChg chg="add del mod">
          <ac:chgData name="LAISSAOUI, Ghita" userId="ac8a0427-4948-4bf4-bb5c-4b9a41a9bd01" providerId="ADAL" clId="{8C4A23C6-A272-4AE5-87F4-94EB44631B18}" dt="2022-01-27T13:28:48.294" v="4782" actId="21"/>
          <ac:picMkLst>
            <pc:docMk/>
            <pc:sldMk cId="3429431810" sldId="2147229382"/>
            <ac:picMk id="32" creationId="{24C8F484-3970-43C2-AB55-C8CFD749AE36}"/>
          </ac:picMkLst>
        </pc:picChg>
        <pc:picChg chg="del">
          <ac:chgData name="LAISSAOUI, Ghita" userId="ac8a0427-4948-4bf4-bb5c-4b9a41a9bd01" providerId="ADAL" clId="{8C4A23C6-A272-4AE5-87F4-94EB44631B18}" dt="2022-01-27T13:23:47.859" v="4642" actId="478"/>
          <ac:picMkLst>
            <pc:docMk/>
            <pc:sldMk cId="3429431810" sldId="2147229382"/>
            <ac:picMk id="34" creationId="{377D6E3C-8D0F-42B4-85E3-EE4A7C71CA51}"/>
          </ac:picMkLst>
        </pc:picChg>
        <pc:picChg chg="mod">
          <ac:chgData name="LAISSAOUI, Ghita" userId="ac8a0427-4948-4bf4-bb5c-4b9a41a9bd01" providerId="ADAL" clId="{8C4A23C6-A272-4AE5-87F4-94EB44631B18}" dt="2022-01-27T15:32:03.770" v="5749" actId="555"/>
          <ac:picMkLst>
            <pc:docMk/>
            <pc:sldMk cId="3429431810" sldId="2147229382"/>
            <ac:picMk id="36" creationId="{0484FF08-EEFC-4C56-A51E-32617E6C6B51}"/>
          </ac:picMkLst>
        </pc:picChg>
        <pc:picChg chg="mod">
          <ac:chgData name="LAISSAOUI, Ghita" userId="ac8a0427-4948-4bf4-bb5c-4b9a41a9bd01" providerId="ADAL" clId="{8C4A23C6-A272-4AE5-87F4-94EB44631B18}" dt="2022-01-27T15:31:03.636" v="5739" actId="1076"/>
          <ac:picMkLst>
            <pc:docMk/>
            <pc:sldMk cId="3429431810" sldId="2147229382"/>
            <ac:picMk id="37" creationId="{23AEFF4D-86BA-4E21-8B1A-FB7075BC8C06}"/>
          </ac:picMkLst>
        </pc:picChg>
        <pc:picChg chg="add mod">
          <ac:chgData name="LAISSAOUI, Ghita" userId="ac8a0427-4948-4bf4-bb5c-4b9a41a9bd01" providerId="ADAL" clId="{8C4A23C6-A272-4AE5-87F4-94EB44631B18}" dt="2022-01-27T13:37:44.489" v="4813" actId="571"/>
          <ac:picMkLst>
            <pc:docMk/>
            <pc:sldMk cId="3429431810" sldId="2147229382"/>
            <ac:picMk id="40" creationId="{6C756C2C-AEF8-41EB-AEC0-C89B257C371A}"/>
          </ac:picMkLst>
        </pc:picChg>
        <pc:picChg chg="mod">
          <ac:chgData name="LAISSAOUI, Ghita" userId="ac8a0427-4948-4bf4-bb5c-4b9a41a9bd01" providerId="ADAL" clId="{8C4A23C6-A272-4AE5-87F4-94EB44631B18}" dt="2022-01-27T15:31:47.330" v="5747" actId="555"/>
          <ac:picMkLst>
            <pc:docMk/>
            <pc:sldMk cId="3429431810" sldId="2147229382"/>
            <ac:picMk id="41" creationId="{C854B65E-6B7C-42FE-914A-E7B739B9B00F}"/>
          </ac:picMkLst>
        </pc:picChg>
        <pc:picChg chg="mod">
          <ac:chgData name="LAISSAOUI, Ghita" userId="ac8a0427-4948-4bf4-bb5c-4b9a41a9bd01" providerId="ADAL" clId="{8C4A23C6-A272-4AE5-87F4-94EB44631B18}" dt="2022-01-27T15:32:19.420" v="5752" actId="1076"/>
          <ac:picMkLst>
            <pc:docMk/>
            <pc:sldMk cId="3429431810" sldId="2147229382"/>
            <ac:picMk id="46" creationId="{034AA762-6BA5-4A5F-AECF-58AE261F4B40}"/>
          </ac:picMkLst>
        </pc:picChg>
        <pc:picChg chg="add mod">
          <ac:chgData name="LAISSAOUI, Ghita" userId="ac8a0427-4948-4bf4-bb5c-4b9a41a9bd01" providerId="ADAL" clId="{8C4A23C6-A272-4AE5-87F4-94EB44631B18}" dt="2022-01-27T15:31:47.330" v="5747" actId="555"/>
          <ac:picMkLst>
            <pc:docMk/>
            <pc:sldMk cId="3429431810" sldId="2147229382"/>
            <ac:picMk id="1026" creationId="{6729DA25-94E5-493F-B8D3-29D940683E88}"/>
          </ac:picMkLst>
        </pc:picChg>
        <pc:picChg chg="add del mod">
          <ac:chgData name="LAISSAOUI, Ghita" userId="ac8a0427-4948-4bf4-bb5c-4b9a41a9bd01" providerId="ADAL" clId="{8C4A23C6-A272-4AE5-87F4-94EB44631B18}" dt="2022-01-27T15:31:47.330" v="5747" actId="555"/>
          <ac:picMkLst>
            <pc:docMk/>
            <pc:sldMk cId="3429431810" sldId="2147229382"/>
            <ac:picMk id="1028" creationId="{38064A23-259A-4409-93DF-0E161059F1A8}"/>
          </ac:picMkLst>
        </pc:picChg>
      </pc:sldChg>
      <pc:sldChg chg="del">
        <pc:chgData name="LAISSAOUI, Ghita" userId="ac8a0427-4948-4bf4-bb5c-4b9a41a9bd01" providerId="ADAL" clId="{8C4A23C6-A272-4AE5-87F4-94EB44631B18}" dt="2022-01-31T07:07:10.950" v="8090" actId="47"/>
        <pc:sldMkLst>
          <pc:docMk/>
          <pc:sldMk cId="169003748" sldId="2147229383"/>
        </pc:sldMkLst>
      </pc:sldChg>
      <pc:sldChg chg="del mod modShow">
        <pc:chgData name="LAISSAOUI, Ghita" userId="ac8a0427-4948-4bf4-bb5c-4b9a41a9bd01" providerId="ADAL" clId="{8C4A23C6-A272-4AE5-87F4-94EB44631B18}" dt="2022-01-31T07:14:01.830" v="8182" actId="47"/>
        <pc:sldMkLst>
          <pc:docMk/>
          <pc:sldMk cId="1723656898" sldId="2147229384"/>
        </pc:sldMkLst>
      </pc:sldChg>
      <pc:sldChg chg="del mod ord modShow">
        <pc:chgData name="LAISSAOUI, Ghita" userId="ac8a0427-4948-4bf4-bb5c-4b9a41a9bd01" providerId="ADAL" clId="{8C4A23C6-A272-4AE5-87F4-94EB44631B18}" dt="2022-01-31T07:52:01.626" v="8792" actId="47"/>
        <pc:sldMkLst>
          <pc:docMk/>
          <pc:sldMk cId="2160413130" sldId="2147229385"/>
        </pc:sldMkLst>
      </pc:sldChg>
      <pc:sldChg chg="addSp delSp modSp mod ord modNotesTx">
        <pc:chgData name="LAISSAOUI, Ghita" userId="ac8a0427-4948-4bf4-bb5c-4b9a41a9bd01" providerId="ADAL" clId="{8C4A23C6-A272-4AE5-87F4-94EB44631B18}" dt="2022-01-31T10:10:19.746" v="9061" actId="20577"/>
        <pc:sldMkLst>
          <pc:docMk/>
          <pc:sldMk cId="2199849019" sldId="2147229386"/>
        </pc:sldMkLst>
        <pc:spChg chg="mod">
          <ac:chgData name="LAISSAOUI, Ghita" userId="ac8a0427-4948-4bf4-bb5c-4b9a41a9bd01" providerId="ADAL" clId="{8C4A23C6-A272-4AE5-87F4-94EB44631B18}" dt="2022-01-31T10:10:19.746" v="9061" actId="20577"/>
          <ac:spMkLst>
            <pc:docMk/>
            <pc:sldMk cId="2199849019" sldId="2147229386"/>
            <ac:spMk id="5" creationId="{4929CBB8-35A0-4038-82DA-F4003517CD8F}"/>
          </ac:spMkLst>
        </pc:spChg>
        <pc:spChg chg="add mod">
          <ac:chgData name="LAISSAOUI, Ghita" userId="ac8a0427-4948-4bf4-bb5c-4b9a41a9bd01" providerId="ADAL" clId="{8C4A23C6-A272-4AE5-87F4-94EB44631B18}" dt="2022-01-31T09:23:17.366" v="8978"/>
          <ac:spMkLst>
            <pc:docMk/>
            <pc:sldMk cId="2199849019" sldId="2147229386"/>
            <ac:spMk id="8" creationId="{A4BAE9EC-C482-4546-8EA0-10975152D86B}"/>
          </ac:spMkLst>
        </pc:spChg>
        <pc:spChg chg="del mod">
          <ac:chgData name="LAISSAOUI, Ghita" userId="ac8a0427-4948-4bf4-bb5c-4b9a41a9bd01" providerId="ADAL" clId="{8C4A23C6-A272-4AE5-87F4-94EB44631B18}" dt="2022-01-27T16:28:26.098" v="6372" actId="478"/>
          <ac:spMkLst>
            <pc:docMk/>
            <pc:sldMk cId="2199849019" sldId="2147229386"/>
            <ac:spMk id="15" creationId="{CDBC7219-A9E6-45BB-87DB-25973FC36A91}"/>
          </ac:spMkLst>
        </pc:spChg>
        <pc:spChg chg="del mod">
          <ac:chgData name="LAISSAOUI, Ghita" userId="ac8a0427-4948-4bf4-bb5c-4b9a41a9bd01" providerId="ADAL" clId="{8C4A23C6-A272-4AE5-87F4-94EB44631B18}" dt="2022-01-27T09:38:10.244" v="4201" actId="478"/>
          <ac:spMkLst>
            <pc:docMk/>
            <pc:sldMk cId="2199849019" sldId="2147229386"/>
            <ac:spMk id="16" creationId="{1FA414B6-9A45-4E6F-AF54-BBA7375E8704}"/>
          </ac:spMkLst>
        </pc:spChg>
        <pc:spChg chg="add del mod">
          <ac:chgData name="LAISSAOUI, Ghita" userId="ac8a0427-4948-4bf4-bb5c-4b9a41a9bd01" providerId="ADAL" clId="{8C4A23C6-A272-4AE5-87F4-94EB44631B18}" dt="2022-01-27T16:28:28.872" v="6373" actId="478"/>
          <ac:spMkLst>
            <pc:docMk/>
            <pc:sldMk cId="2199849019" sldId="2147229386"/>
            <ac:spMk id="18" creationId="{3F34C1D6-1409-4733-97B0-CC6D9B4D5FF5}"/>
          </ac:spMkLst>
        </pc:spChg>
        <pc:spChg chg="del mod">
          <ac:chgData name="LAISSAOUI, Ghita" userId="ac8a0427-4948-4bf4-bb5c-4b9a41a9bd01" providerId="ADAL" clId="{8C4A23C6-A272-4AE5-87F4-94EB44631B18}" dt="2022-01-27T09:38:04.441" v="4199" actId="478"/>
          <ac:spMkLst>
            <pc:docMk/>
            <pc:sldMk cId="2199849019" sldId="2147229386"/>
            <ac:spMk id="19" creationId="{84A9D717-43A0-43BF-BDB3-1C80A0722C2F}"/>
          </ac:spMkLst>
        </pc:spChg>
        <pc:spChg chg="add mod">
          <ac:chgData name="LAISSAOUI, Ghita" userId="ac8a0427-4948-4bf4-bb5c-4b9a41a9bd01" providerId="ADAL" clId="{8C4A23C6-A272-4AE5-87F4-94EB44631B18}" dt="2022-01-27T16:31:12.067" v="6451" actId="1076"/>
          <ac:spMkLst>
            <pc:docMk/>
            <pc:sldMk cId="2199849019" sldId="2147229386"/>
            <ac:spMk id="20" creationId="{3BE75D9A-EF9D-4DB1-A920-8CFDF69740AA}"/>
          </ac:spMkLst>
        </pc:spChg>
        <pc:spChg chg="del mod">
          <ac:chgData name="LAISSAOUI, Ghita" userId="ac8a0427-4948-4bf4-bb5c-4b9a41a9bd01" providerId="ADAL" clId="{8C4A23C6-A272-4AE5-87F4-94EB44631B18}" dt="2022-01-25T12:35:04.620" v="1883" actId="478"/>
          <ac:spMkLst>
            <pc:docMk/>
            <pc:sldMk cId="2199849019" sldId="2147229386"/>
            <ac:spMk id="23" creationId="{5F6CC7C5-D3D1-410E-93E9-A641ACE14AF3}"/>
          </ac:spMkLst>
        </pc:spChg>
        <pc:spChg chg="del mod">
          <ac:chgData name="LAISSAOUI, Ghita" userId="ac8a0427-4948-4bf4-bb5c-4b9a41a9bd01" providerId="ADAL" clId="{8C4A23C6-A272-4AE5-87F4-94EB44631B18}" dt="2022-01-27T09:38:04.441" v="4199" actId="478"/>
          <ac:spMkLst>
            <pc:docMk/>
            <pc:sldMk cId="2199849019" sldId="2147229386"/>
            <ac:spMk id="25" creationId="{D34E66BE-08C9-45A5-A93D-B0B3042947F0}"/>
          </ac:spMkLst>
        </pc:spChg>
        <pc:spChg chg="del">
          <ac:chgData name="LAISSAOUI, Ghita" userId="ac8a0427-4948-4bf4-bb5c-4b9a41a9bd01" providerId="ADAL" clId="{8C4A23C6-A272-4AE5-87F4-94EB44631B18}" dt="2022-01-25T12:34:53.772" v="1882" actId="478"/>
          <ac:spMkLst>
            <pc:docMk/>
            <pc:sldMk cId="2199849019" sldId="2147229386"/>
            <ac:spMk id="27" creationId="{2E6982FF-4441-4D32-8234-4AD42D3FD57D}"/>
          </ac:spMkLst>
        </pc:spChg>
        <pc:spChg chg="del">
          <ac:chgData name="LAISSAOUI, Ghita" userId="ac8a0427-4948-4bf4-bb5c-4b9a41a9bd01" providerId="ADAL" clId="{8C4A23C6-A272-4AE5-87F4-94EB44631B18}" dt="2022-01-25T10:57:25.413" v="1774" actId="478"/>
          <ac:spMkLst>
            <pc:docMk/>
            <pc:sldMk cId="2199849019" sldId="2147229386"/>
            <ac:spMk id="28" creationId="{C9C97F46-1C5D-4E54-BC4D-86568DF33B6C}"/>
          </ac:spMkLst>
        </pc:spChg>
        <pc:spChg chg="add del mod">
          <ac:chgData name="LAISSAOUI, Ghita" userId="ac8a0427-4948-4bf4-bb5c-4b9a41a9bd01" providerId="ADAL" clId="{8C4A23C6-A272-4AE5-87F4-94EB44631B18}" dt="2022-01-25T10:58:54.567" v="1788" actId="478"/>
          <ac:spMkLst>
            <pc:docMk/>
            <pc:sldMk cId="2199849019" sldId="2147229386"/>
            <ac:spMk id="29" creationId="{1FF31D3B-922C-4062-87CA-FE364429FDCB}"/>
          </ac:spMkLst>
        </pc:spChg>
        <pc:spChg chg="add del mod">
          <ac:chgData name="LAISSAOUI, Ghita" userId="ac8a0427-4948-4bf4-bb5c-4b9a41a9bd01" providerId="ADAL" clId="{8C4A23C6-A272-4AE5-87F4-94EB44631B18}" dt="2022-01-31T09:23:16.921" v="8977" actId="478"/>
          <ac:spMkLst>
            <pc:docMk/>
            <pc:sldMk cId="2199849019" sldId="2147229386"/>
            <ac:spMk id="30" creationId="{6A463659-8427-4C29-BE1E-597FDFF9C118}"/>
          </ac:spMkLst>
        </pc:spChg>
        <pc:spChg chg="mod">
          <ac:chgData name="LAISSAOUI, Ghita" userId="ac8a0427-4948-4bf4-bb5c-4b9a41a9bd01" providerId="ADAL" clId="{8C4A23C6-A272-4AE5-87F4-94EB44631B18}" dt="2022-01-28T15:55:10.213" v="7324" actId="166"/>
          <ac:spMkLst>
            <pc:docMk/>
            <pc:sldMk cId="2199849019" sldId="2147229386"/>
            <ac:spMk id="35" creationId="{20899B4C-7831-4E9F-8F2D-16762296BFCA}"/>
          </ac:spMkLst>
        </pc:spChg>
        <pc:spChg chg="add del mod">
          <ac:chgData name="LAISSAOUI, Ghita" userId="ac8a0427-4948-4bf4-bb5c-4b9a41a9bd01" providerId="ADAL" clId="{8C4A23C6-A272-4AE5-87F4-94EB44631B18}" dt="2022-01-25T12:34:49.112" v="1881" actId="478"/>
          <ac:spMkLst>
            <pc:docMk/>
            <pc:sldMk cId="2199849019" sldId="2147229386"/>
            <ac:spMk id="37" creationId="{122A2B67-2DCE-449B-A0A8-3ED266864EA7}"/>
          </ac:spMkLst>
        </pc:spChg>
        <pc:spChg chg="del mod">
          <ac:chgData name="LAISSAOUI, Ghita" userId="ac8a0427-4948-4bf4-bb5c-4b9a41a9bd01" providerId="ADAL" clId="{8C4A23C6-A272-4AE5-87F4-94EB44631B18}" dt="2022-01-25T12:35:13.164" v="1887" actId="478"/>
          <ac:spMkLst>
            <pc:docMk/>
            <pc:sldMk cId="2199849019" sldId="2147229386"/>
            <ac:spMk id="39" creationId="{D9645345-2AA2-45C0-8578-3936942502E7}"/>
          </ac:spMkLst>
        </pc:spChg>
        <pc:spChg chg="del">
          <ac:chgData name="LAISSAOUI, Ghita" userId="ac8a0427-4948-4bf4-bb5c-4b9a41a9bd01" providerId="ADAL" clId="{8C4A23C6-A272-4AE5-87F4-94EB44631B18}" dt="2022-01-25T12:35:20.970" v="1890" actId="478"/>
          <ac:spMkLst>
            <pc:docMk/>
            <pc:sldMk cId="2199849019" sldId="2147229386"/>
            <ac:spMk id="41" creationId="{C49FC62F-9EC8-4A5F-9CC2-28252F7A2719}"/>
          </ac:spMkLst>
        </pc:spChg>
        <pc:spChg chg="del">
          <ac:chgData name="LAISSAOUI, Ghita" userId="ac8a0427-4948-4bf4-bb5c-4b9a41a9bd01" providerId="ADAL" clId="{8C4A23C6-A272-4AE5-87F4-94EB44631B18}" dt="2022-01-25T12:35:18.271" v="1889" actId="478"/>
          <ac:spMkLst>
            <pc:docMk/>
            <pc:sldMk cId="2199849019" sldId="2147229386"/>
            <ac:spMk id="46" creationId="{FECAD8E0-FCEA-44E0-9B10-893DB897C1BA}"/>
          </ac:spMkLst>
        </pc:spChg>
        <pc:picChg chg="add del mod">
          <ac:chgData name="LAISSAOUI, Ghita" userId="ac8a0427-4948-4bf4-bb5c-4b9a41a9bd01" providerId="ADAL" clId="{8C4A23C6-A272-4AE5-87F4-94EB44631B18}" dt="2022-01-27T16:28:13.981" v="6367" actId="478"/>
          <ac:picMkLst>
            <pc:docMk/>
            <pc:sldMk cId="2199849019" sldId="2147229386"/>
            <ac:picMk id="2" creationId="{83D490A4-433A-472D-AC40-001335068851}"/>
          </ac:picMkLst>
        </pc:picChg>
        <pc:picChg chg="add del mod modCrop">
          <ac:chgData name="LAISSAOUI, Ghita" userId="ac8a0427-4948-4bf4-bb5c-4b9a41a9bd01" providerId="ADAL" clId="{8C4A23C6-A272-4AE5-87F4-94EB44631B18}" dt="2022-01-27T09:38:04.441" v="4199" actId="478"/>
          <ac:picMkLst>
            <pc:docMk/>
            <pc:sldMk cId="2199849019" sldId="2147229386"/>
            <ac:picMk id="3" creationId="{CD67C0BC-2136-4F4E-B541-660B7C7E5CD9}"/>
          </ac:picMkLst>
        </pc:picChg>
        <pc:picChg chg="add mod">
          <ac:chgData name="LAISSAOUI, Ghita" userId="ac8a0427-4948-4bf4-bb5c-4b9a41a9bd01" providerId="ADAL" clId="{8C4A23C6-A272-4AE5-87F4-94EB44631B18}" dt="2022-01-27T16:30:50.677" v="6438" actId="1076"/>
          <ac:picMkLst>
            <pc:docMk/>
            <pc:sldMk cId="2199849019" sldId="2147229386"/>
            <ac:picMk id="6" creationId="{B2BD5B52-23F9-4EF9-BF3B-BC97843F5021}"/>
          </ac:picMkLst>
        </pc:picChg>
        <pc:picChg chg="del">
          <ac:chgData name="LAISSAOUI, Ghita" userId="ac8a0427-4948-4bf4-bb5c-4b9a41a9bd01" providerId="ADAL" clId="{8C4A23C6-A272-4AE5-87F4-94EB44631B18}" dt="2022-01-25T11:26:42.775" v="1866" actId="478"/>
          <ac:picMkLst>
            <pc:docMk/>
            <pc:sldMk cId="2199849019" sldId="2147229386"/>
            <ac:picMk id="8" creationId="{1C7E363D-AE39-40F8-AE6E-D3FC3DDB93D4}"/>
          </ac:picMkLst>
        </pc:picChg>
        <pc:picChg chg="del mod">
          <ac:chgData name="LAISSAOUI, Ghita" userId="ac8a0427-4948-4bf4-bb5c-4b9a41a9bd01" providerId="ADAL" clId="{8C4A23C6-A272-4AE5-87F4-94EB44631B18}" dt="2022-01-25T11:01:11.171" v="1831" actId="478"/>
          <ac:picMkLst>
            <pc:docMk/>
            <pc:sldMk cId="2199849019" sldId="2147229386"/>
            <ac:picMk id="9" creationId="{CE8868E5-6E62-43C8-AC1E-6A29E7C6F45A}"/>
          </ac:picMkLst>
        </pc:picChg>
        <pc:picChg chg="add del mod modCrop">
          <ac:chgData name="LAISSAOUI, Ghita" userId="ac8a0427-4948-4bf4-bb5c-4b9a41a9bd01" providerId="ADAL" clId="{8C4A23C6-A272-4AE5-87F4-94EB44631B18}" dt="2022-01-27T09:38:04.441" v="4199" actId="478"/>
          <ac:picMkLst>
            <pc:docMk/>
            <pc:sldMk cId="2199849019" sldId="2147229386"/>
            <ac:picMk id="10" creationId="{DB41FC4F-FA28-4CBF-9038-804D24F4963B}"/>
          </ac:picMkLst>
        </pc:picChg>
        <pc:picChg chg="del">
          <ac:chgData name="LAISSAOUI, Ghita" userId="ac8a0427-4948-4bf4-bb5c-4b9a41a9bd01" providerId="ADAL" clId="{8C4A23C6-A272-4AE5-87F4-94EB44631B18}" dt="2022-01-25T11:26:45.129" v="1867" actId="478"/>
          <ac:picMkLst>
            <pc:docMk/>
            <pc:sldMk cId="2199849019" sldId="2147229386"/>
            <ac:picMk id="33" creationId="{BEC2D2C6-3741-4EBA-9297-C6D79A8AC70E}"/>
          </ac:picMkLst>
        </pc:picChg>
        <pc:picChg chg="del">
          <ac:chgData name="LAISSAOUI, Ghita" userId="ac8a0427-4948-4bf4-bb5c-4b9a41a9bd01" providerId="ADAL" clId="{8C4A23C6-A272-4AE5-87F4-94EB44631B18}" dt="2022-01-25T11:27:26.795" v="1874" actId="478"/>
          <ac:picMkLst>
            <pc:docMk/>
            <pc:sldMk cId="2199849019" sldId="2147229386"/>
            <ac:picMk id="34" creationId="{D0F5B13D-96B1-44B0-B697-FE59B030B5FE}"/>
          </ac:picMkLst>
        </pc:picChg>
        <pc:picChg chg="add del mod">
          <ac:chgData name="LAISSAOUI, Ghita" userId="ac8a0427-4948-4bf4-bb5c-4b9a41a9bd01" providerId="ADAL" clId="{8C4A23C6-A272-4AE5-87F4-94EB44631B18}" dt="2022-01-28T15:57:05.518" v="7325"/>
          <ac:picMkLst>
            <pc:docMk/>
            <pc:sldMk cId="2199849019" sldId="2147229386"/>
            <ac:picMk id="1026" creationId="{2C3CC4EF-EBE2-4B0D-B776-6B91748045F3}"/>
          </ac:picMkLst>
        </pc:picChg>
        <pc:picChg chg="del">
          <ac:chgData name="LAISSAOUI, Ghita" userId="ac8a0427-4948-4bf4-bb5c-4b9a41a9bd01" providerId="ADAL" clId="{8C4A23C6-A272-4AE5-87F4-94EB44631B18}" dt="2022-01-25T11:26:58.087" v="1870" actId="478"/>
          <ac:picMkLst>
            <pc:docMk/>
            <pc:sldMk cId="2199849019" sldId="2147229386"/>
            <ac:picMk id="1026" creationId="{ECA5CC0B-8DCB-492F-A098-B0365B98D2C7}"/>
          </ac:picMkLst>
        </pc:picChg>
        <pc:picChg chg="add mod">
          <ac:chgData name="LAISSAOUI, Ghita" userId="ac8a0427-4948-4bf4-bb5c-4b9a41a9bd01" providerId="ADAL" clId="{8C4A23C6-A272-4AE5-87F4-94EB44631B18}" dt="2022-01-28T15:57:20.130" v="7330" actId="167"/>
          <ac:picMkLst>
            <pc:docMk/>
            <pc:sldMk cId="2199849019" sldId="2147229386"/>
            <ac:picMk id="1028" creationId="{A7CA5160-5EED-4F6B-AFB9-9C34240DD46C}"/>
          </ac:picMkLst>
        </pc:picChg>
        <pc:picChg chg="del">
          <ac:chgData name="LAISSAOUI, Ghita" userId="ac8a0427-4948-4bf4-bb5c-4b9a41a9bd01" providerId="ADAL" clId="{8C4A23C6-A272-4AE5-87F4-94EB44631B18}" dt="2022-01-25T11:00:00.411" v="1817" actId="478"/>
          <ac:picMkLst>
            <pc:docMk/>
            <pc:sldMk cId="2199849019" sldId="2147229386"/>
            <ac:picMk id="2050" creationId="{5B2D3B0C-98F5-41C5-B174-6189625D8F98}"/>
          </ac:picMkLst>
        </pc:picChg>
        <pc:picChg chg="add del mod">
          <ac:chgData name="LAISSAOUI, Ghita" userId="ac8a0427-4948-4bf4-bb5c-4b9a41a9bd01" providerId="ADAL" clId="{8C4A23C6-A272-4AE5-87F4-94EB44631B18}" dt="2022-01-28T15:57:22.258" v="7331" actId="478"/>
          <ac:picMkLst>
            <pc:docMk/>
            <pc:sldMk cId="2199849019" sldId="2147229386"/>
            <ac:picMk id="6146" creationId="{42FAF5F2-6BC9-494F-A546-160E500DA35F}"/>
          </ac:picMkLst>
        </pc:picChg>
        <pc:cxnChg chg="del mod">
          <ac:chgData name="LAISSAOUI, Ghita" userId="ac8a0427-4948-4bf4-bb5c-4b9a41a9bd01" providerId="ADAL" clId="{8C4A23C6-A272-4AE5-87F4-94EB44631B18}" dt="2022-01-27T09:38:04.441" v="4199" actId="478"/>
          <ac:cxnSpMkLst>
            <pc:docMk/>
            <pc:sldMk cId="2199849019" sldId="2147229386"/>
            <ac:cxnSpMk id="14" creationId="{3C47EE78-E60C-4DA5-8671-51FE7864EEA3}"/>
          </ac:cxnSpMkLst>
        </pc:cxnChg>
        <pc:cxnChg chg="del mod">
          <ac:chgData name="LAISSAOUI, Ghita" userId="ac8a0427-4948-4bf4-bb5c-4b9a41a9bd01" providerId="ADAL" clId="{8C4A23C6-A272-4AE5-87F4-94EB44631B18}" dt="2022-01-27T09:38:04.441" v="4199" actId="478"/>
          <ac:cxnSpMkLst>
            <pc:docMk/>
            <pc:sldMk cId="2199849019" sldId="2147229386"/>
            <ac:cxnSpMk id="17" creationId="{DD430C7B-0456-46D4-A7BE-B6935466FB2B}"/>
          </ac:cxnSpMkLst>
        </pc:cxnChg>
        <pc:cxnChg chg="del">
          <ac:chgData name="LAISSAOUI, Ghita" userId="ac8a0427-4948-4bf4-bb5c-4b9a41a9bd01" providerId="ADAL" clId="{8C4A23C6-A272-4AE5-87F4-94EB44631B18}" dt="2022-01-25T12:35:08.651" v="1884" actId="478"/>
          <ac:cxnSpMkLst>
            <pc:docMk/>
            <pc:sldMk cId="2199849019" sldId="2147229386"/>
            <ac:cxnSpMk id="20" creationId="{2FCB25AF-A283-4461-870B-A1ACF302D0A9}"/>
          </ac:cxnSpMkLst>
        </pc:cxnChg>
        <pc:cxnChg chg="del mod">
          <ac:chgData name="LAISSAOUI, Ghita" userId="ac8a0427-4948-4bf4-bb5c-4b9a41a9bd01" providerId="ADAL" clId="{8C4A23C6-A272-4AE5-87F4-94EB44631B18}" dt="2022-01-27T09:38:04.441" v="4199" actId="478"/>
          <ac:cxnSpMkLst>
            <pc:docMk/>
            <pc:sldMk cId="2199849019" sldId="2147229386"/>
            <ac:cxnSpMk id="24" creationId="{6BF7C912-E2B6-4B23-891F-92954B34EF30}"/>
          </ac:cxnSpMkLst>
        </pc:cxnChg>
        <pc:cxnChg chg="del">
          <ac:chgData name="LAISSAOUI, Ghita" userId="ac8a0427-4948-4bf4-bb5c-4b9a41a9bd01" providerId="ADAL" clId="{8C4A23C6-A272-4AE5-87F4-94EB44631B18}" dt="2022-01-25T11:26:56.195" v="1869" actId="478"/>
          <ac:cxnSpMkLst>
            <pc:docMk/>
            <pc:sldMk cId="2199849019" sldId="2147229386"/>
            <ac:cxnSpMk id="26" creationId="{CB760371-CE28-4847-821C-A9D13614C708}"/>
          </ac:cxnSpMkLst>
        </pc:cxnChg>
        <pc:cxnChg chg="del">
          <ac:chgData name="LAISSAOUI, Ghita" userId="ac8a0427-4948-4bf4-bb5c-4b9a41a9bd01" providerId="ADAL" clId="{8C4A23C6-A272-4AE5-87F4-94EB44631B18}" dt="2022-01-25T12:34:53.772" v="1882" actId="478"/>
          <ac:cxnSpMkLst>
            <pc:docMk/>
            <pc:sldMk cId="2199849019" sldId="2147229386"/>
            <ac:cxnSpMk id="32" creationId="{72C4100A-23BE-4F81-A286-DDCA9A4BEEED}"/>
          </ac:cxnSpMkLst>
        </pc:cxnChg>
        <pc:cxnChg chg="del">
          <ac:chgData name="LAISSAOUI, Ghita" userId="ac8a0427-4948-4bf4-bb5c-4b9a41a9bd01" providerId="ADAL" clId="{8C4A23C6-A272-4AE5-87F4-94EB44631B18}" dt="2022-01-25T12:35:10.789" v="1885" actId="478"/>
          <ac:cxnSpMkLst>
            <pc:docMk/>
            <pc:sldMk cId="2199849019" sldId="2147229386"/>
            <ac:cxnSpMk id="36" creationId="{1A120D33-4FF2-4201-9296-E89A0FA2432C}"/>
          </ac:cxnSpMkLst>
        </pc:cxnChg>
        <pc:cxnChg chg="add del mod">
          <ac:chgData name="LAISSAOUI, Ghita" userId="ac8a0427-4948-4bf4-bb5c-4b9a41a9bd01" providerId="ADAL" clId="{8C4A23C6-A272-4AE5-87F4-94EB44631B18}" dt="2022-01-25T12:34:49.112" v="1881" actId="478"/>
          <ac:cxnSpMkLst>
            <pc:docMk/>
            <pc:sldMk cId="2199849019" sldId="2147229386"/>
            <ac:cxnSpMk id="38" creationId="{A88503D3-7922-4CD2-B380-72AD6D22F6EB}"/>
          </ac:cxnSpMkLst>
        </pc:cxnChg>
        <pc:cxnChg chg="del mod">
          <ac:chgData name="LAISSAOUI, Ghita" userId="ac8a0427-4948-4bf4-bb5c-4b9a41a9bd01" providerId="ADAL" clId="{8C4A23C6-A272-4AE5-87F4-94EB44631B18}" dt="2022-01-25T12:35:16.798" v="1888" actId="478"/>
          <ac:cxnSpMkLst>
            <pc:docMk/>
            <pc:sldMk cId="2199849019" sldId="2147229386"/>
            <ac:cxnSpMk id="40" creationId="{4A3D1CE9-CF05-41AA-9F59-C0DE0402E40F}"/>
          </ac:cxnSpMkLst>
        </pc:cxnChg>
        <pc:cxnChg chg="del mod">
          <ac:chgData name="LAISSAOUI, Ghita" userId="ac8a0427-4948-4bf4-bb5c-4b9a41a9bd01" providerId="ADAL" clId="{8C4A23C6-A272-4AE5-87F4-94EB44631B18}" dt="2022-01-25T12:35:16.798" v="1888" actId="478"/>
          <ac:cxnSpMkLst>
            <pc:docMk/>
            <pc:sldMk cId="2199849019" sldId="2147229386"/>
            <ac:cxnSpMk id="43" creationId="{DCFD7E0E-F028-460F-85F7-48A40239FAFC}"/>
          </ac:cxnSpMkLst>
        </pc:cxnChg>
      </pc:sldChg>
      <pc:sldChg chg="addSp delSp modSp del mod ord">
        <pc:chgData name="LAISSAOUI, Ghita" userId="ac8a0427-4948-4bf4-bb5c-4b9a41a9bd01" providerId="ADAL" clId="{8C4A23C6-A272-4AE5-87F4-94EB44631B18}" dt="2022-01-27T16:25:54.181" v="6321" actId="47"/>
        <pc:sldMkLst>
          <pc:docMk/>
          <pc:sldMk cId="1388088336" sldId="2147229387"/>
        </pc:sldMkLst>
        <pc:spChg chg="add del mod">
          <ac:chgData name="LAISSAOUI, Ghita" userId="ac8a0427-4948-4bf4-bb5c-4b9a41a9bd01" providerId="ADAL" clId="{8C4A23C6-A272-4AE5-87F4-94EB44631B18}" dt="2022-01-25T10:58:59.677" v="1790" actId="478"/>
          <ac:spMkLst>
            <pc:docMk/>
            <pc:sldMk cId="1388088336" sldId="2147229387"/>
            <ac:spMk id="6" creationId="{26E15C88-973D-4E04-8FB5-EF9AAB576EF5}"/>
          </ac:spMkLst>
        </pc:spChg>
        <pc:spChg chg="add mod">
          <ac:chgData name="LAISSAOUI, Ghita" userId="ac8a0427-4948-4bf4-bb5c-4b9a41a9bd01" providerId="ADAL" clId="{8C4A23C6-A272-4AE5-87F4-94EB44631B18}" dt="2022-01-25T10:58:59.980" v="1791"/>
          <ac:spMkLst>
            <pc:docMk/>
            <pc:sldMk cId="1388088336" sldId="2147229387"/>
            <ac:spMk id="7" creationId="{0816F4D3-C6CD-47E5-811D-9977B54731D0}"/>
          </ac:spMkLst>
        </pc:spChg>
        <pc:spChg chg="del mod">
          <ac:chgData name="LAISSAOUI, Ghita" userId="ac8a0427-4948-4bf4-bb5c-4b9a41a9bd01" providerId="ADAL" clId="{8C4A23C6-A272-4AE5-87F4-94EB44631B18}" dt="2022-01-25T10:57:43.419" v="1778" actId="478"/>
          <ac:spMkLst>
            <pc:docMk/>
            <pc:sldMk cId="1388088336" sldId="2147229387"/>
            <ac:spMk id="28" creationId="{C9C97F46-1C5D-4E54-BC4D-86568DF33B6C}"/>
          </ac:spMkLst>
        </pc:spChg>
        <pc:spChg chg="mod">
          <ac:chgData name="LAISSAOUI, Ghita" userId="ac8a0427-4948-4bf4-bb5c-4b9a41a9bd01" providerId="ADAL" clId="{8C4A23C6-A272-4AE5-87F4-94EB44631B18}" dt="2022-01-27T16:25:20.806" v="6291" actId="20577"/>
          <ac:spMkLst>
            <pc:docMk/>
            <pc:sldMk cId="1388088336" sldId="2147229387"/>
            <ac:spMk id="29" creationId="{60C1CE22-D532-4513-AAFC-93AF33ACF578}"/>
          </ac:spMkLst>
        </pc:spChg>
        <pc:spChg chg="mod">
          <ac:chgData name="LAISSAOUI, Ghita" userId="ac8a0427-4948-4bf4-bb5c-4b9a41a9bd01" providerId="ADAL" clId="{8C4A23C6-A272-4AE5-87F4-94EB44631B18}" dt="2022-01-27T16:24:58.353" v="6288" actId="20577"/>
          <ac:spMkLst>
            <pc:docMk/>
            <pc:sldMk cId="1388088336" sldId="2147229387"/>
            <ac:spMk id="30" creationId="{99055BD7-FBA8-4391-9AE0-442982F35925}"/>
          </ac:spMkLst>
        </pc:spChg>
      </pc:sldChg>
      <pc:sldChg chg="addSp delSp modSp mod modNotesTx">
        <pc:chgData name="LAISSAOUI, Ghita" userId="ac8a0427-4948-4bf4-bb5c-4b9a41a9bd01" providerId="ADAL" clId="{8C4A23C6-A272-4AE5-87F4-94EB44631B18}" dt="2022-02-01T10:18:41.661" v="9599" actId="14100"/>
        <pc:sldMkLst>
          <pc:docMk/>
          <pc:sldMk cId="2784728507" sldId="2147229388"/>
        </pc:sldMkLst>
        <pc:spChg chg="add mod ord topLvl">
          <ac:chgData name="LAISSAOUI, Ghita" userId="ac8a0427-4948-4bf4-bb5c-4b9a41a9bd01" providerId="ADAL" clId="{8C4A23C6-A272-4AE5-87F4-94EB44631B18}" dt="2022-02-01T08:49:02.660" v="9448" actId="167"/>
          <ac:spMkLst>
            <pc:docMk/>
            <pc:sldMk cId="2784728507" sldId="2147229388"/>
            <ac:spMk id="5" creationId="{67E4C2D8-92D4-4338-BF68-1B1187030152}"/>
          </ac:spMkLst>
        </pc:spChg>
        <pc:spChg chg="add mod">
          <ac:chgData name="LAISSAOUI, Ghita" userId="ac8a0427-4948-4bf4-bb5c-4b9a41a9bd01" providerId="ADAL" clId="{8C4A23C6-A272-4AE5-87F4-94EB44631B18}" dt="2022-02-01T10:12:59.207" v="9543" actId="207"/>
          <ac:spMkLst>
            <pc:docMk/>
            <pc:sldMk cId="2784728507" sldId="2147229388"/>
            <ac:spMk id="6" creationId="{90B21073-C282-42B0-BEC1-C2B7572B6B1A}"/>
          </ac:spMkLst>
        </pc:spChg>
        <pc:spChg chg="add mod">
          <ac:chgData name="LAISSAOUI, Ghita" userId="ac8a0427-4948-4bf4-bb5c-4b9a41a9bd01" providerId="ADAL" clId="{8C4A23C6-A272-4AE5-87F4-94EB44631B18}" dt="2022-02-01T10:18:41.661" v="9599" actId="14100"/>
          <ac:spMkLst>
            <pc:docMk/>
            <pc:sldMk cId="2784728507" sldId="2147229388"/>
            <ac:spMk id="7" creationId="{C859F681-1BFF-4EE2-9E20-EE9DE1C39911}"/>
          </ac:spMkLst>
        </pc:spChg>
        <pc:spChg chg="add del mod">
          <ac:chgData name="LAISSAOUI, Ghita" userId="ac8a0427-4948-4bf4-bb5c-4b9a41a9bd01" providerId="ADAL" clId="{8C4A23C6-A272-4AE5-87F4-94EB44631B18}" dt="2022-02-01T08:49:18.291" v="9452" actId="14100"/>
          <ac:spMkLst>
            <pc:docMk/>
            <pc:sldMk cId="2784728507" sldId="2147229388"/>
            <ac:spMk id="8" creationId="{DF80BFF7-8E5B-4D80-8C97-24612792632B}"/>
          </ac:spMkLst>
        </pc:spChg>
        <pc:grpChg chg="add del mod">
          <ac:chgData name="LAISSAOUI, Ghita" userId="ac8a0427-4948-4bf4-bb5c-4b9a41a9bd01" providerId="ADAL" clId="{8C4A23C6-A272-4AE5-87F4-94EB44631B18}" dt="2022-02-01T08:48:25.132" v="9444" actId="165"/>
          <ac:grpSpMkLst>
            <pc:docMk/>
            <pc:sldMk cId="2784728507" sldId="2147229388"/>
            <ac:grpSpMk id="9" creationId="{B300C27B-C85A-4F20-BEA8-FAF14D2F2650}"/>
          </ac:grpSpMkLst>
        </pc:grpChg>
        <pc:picChg chg="add del mod">
          <ac:chgData name="LAISSAOUI, Ghita" userId="ac8a0427-4948-4bf4-bb5c-4b9a41a9bd01" providerId="ADAL" clId="{8C4A23C6-A272-4AE5-87F4-94EB44631B18}" dt="2022-02-01T08:46:11.640" v="9427" actId="478"/>
          <ac:picMkLst>
            <pc:docMk/>
            <pc:sldMk cId="2784728507" sldId="2147229388"/>
            <ac:picMk id="3" creationId="{462CA8E4-93C0-4082-B506-F7208245BF09}"/>
          </ac:picMkLst>
        </pc:picChg>
        <pc:picChg chg="add mod topLvl">
          <ac:chgData name="LAISSAOUI, Ghita" userId="ac8a0427-4948-4bf4-bb5c-4b9a41a9bd01" providerId="ADAL" clId="{8C4A23C6-A272-4AE5-87F4-94EB44631B18}" dt="2022-02-01T08:48:25.132" v="9444" actId="165"/>
          <ac:picMkLst>
            <pc:docMk/>
            <pc:sldMk cId="2784728507" sldId="2147229388"/>
            <ac:picMk id="4" creationId="{D5200613-4822-459D-B58F-3010107055F2}"/>
          </ac:picMkLst>
        </pc:picChg>
        <pc:picChg chg="del mod">
          <ac:chgData name="LAISSAOUI, Ghita" userId="ac8a0427-4948-4bf4-bb5c-4b9a41a9bd01" providerId="ADAL" clId="{8C4A23C6-A272-4AE5-87F4-94EB44631B18}" dt="2022-01-31T15:31:33.579" v="9115" actId="478"/>
          <ac:picMkLst>
            <pc:docMk/>
            <pc:sldMk cId="2784728507" sldId="2147229388"/>
            <ac:picMk id="1026" creationId="{52297D5C-E022-4C67-895D-2489867617E1}"/>
          </ac:picMkLst>
        </pc:picChg>
      </pc:sldChg>
      <pc:sldChg chg="addSp delSp modSp mod ord modNotesTx">
        <pc:chgData name="LAISSAOUI, Ghita" userId="ac8a0427-4948-4bf4-bb5c-4b9a41a9bd01" providerId="ADAL" clId="{8C4A23C6-A272-4AE5-87F4-94EB44631B18}" dt="2022-01-31T09:23:10.139" v="8976" actId="121"/>
        <pc:sldMkLst>
          <pc:docMk/>
          <pc:sldMk cId="2345305854" sldId="2147229389"/>
        </pc:sldMkLst>
        <pc:spChg chg="mod">
          <ac:chgData name="LAISSAOUI, Ghita" userId="ac8a0427-4948-4bf4-bb5c-4b9a41a9bd01" providerId="ADAL" clId="{8C4A23C6-A272-4AE5-87F4-94EB44631B18}" dt="2022-01-25T10:55:23.308" v="1736" actId="20577"/>
          <ac:spMkLst>
            <pc:docMk/>
            <pc:sldMk cId="2345305854" sldId="2147229389"/>
            <ac:spMk id="10" creationId="{EE88C3D3-1825-4E9E-B761-E5560D5834D0}"/>
          </ac:spMkLst>
        </pc:spChg>
        <pc:spChg chg="mod">
          <ac:chgData name="LAISSAOUI, Ghita" userId="ac8a0427-4948-4bf4-bb5c-4b9a41a9bd01" providerId="ADAL" clId="{8C4A23C6-A272-4AE5-87F4-94EB44631B18}" dt="2022-01-25T10:54:20.873" v="1711" actId="20577"/>
          <ac:spMkLst>
            <pc:docMk/>
            <pc:sldMk cId="2345305854" sldId="2147229389"/>
            <ac:spMk id="13" creationId="{C1A13EA3-827C-4544-9217-53A5DC46156F}"/>
          </ac:spMkLst>
        </pc:spChg>
        <pc:spChg chg="mod">
          <ac:chgData name="LAISSAOUI, Ghita" userId="ac8a0427-4948-4bf4-bb5c-4b9a41a9bd01" providerId="ADAL" clId="{8C4A23C6-A272-4AE5-87F4-94EB44631B18}" dt="2022-01-25T10:54:30.052" v="1718" actId="20577"/>
          <ac:spMkLst>
            <pc:docMk/>
            <pc:sldMk cId="2345305854" sldId="2147229389"/>
            <ac:spMk id="15" creationId="{4E549F37-1D0D-4C3A-BFA2-BEF27DAD40A6}"/>
          </ac:spMkLst>
        </pc:spChg>
        <pc:spChg chg="mod">
          <ac:chgData name="LAISSAOUI, Ghita" userId="ac8a0427-4948-4bf4-bb5c-4b9a41a9bd01" providerId="ADAL" clId="{8C4A23C6-A272-4AE5-87F4-94EB44631B18}" dt="2022-01-31T07:37:21.787" v="8612" actId="14100"/>
          <ac:spMkLst>
            <pc:docMk/>
            <pc:sldMk cId="2345305854" sldId="2147229389"/>
            <ac:spMk id="16" creationId="{B4848C3B-C5E0-4346-B69B-1A6C1F0046E5}"/>
          </ac:spMkLst>
        </pc:spChg>
        <pc:spChg chg="mod">
          <ac:chgData name="LAISSAOUI, Ghita" userId="ac8a0427-4948-4bf4-bb5c-4b9a41a9bd01" providerId="ADAL" clId="{8C4A23C6-A272-4AE5-87F4-94EB44631B18}" dt="2022-01-25T15:15:52.637" v="3182" actId="1076"/>
          <ac:spMkLst>
            <pc:docMk/>
            <pc:sldMk cId="2345305854" sldId="2147229389"/>
            <ac:spMk id="18" creationId="{80BAF9E3-F1E0-43B2-943E-C0AD4321D880}"/>
          </ac:spMkLst>
        </pc:spChg>
        <pc:spChg chg="mod">
          <ac:chgData name="LAISSAOUI, Ghita" userId="ac8a0427-4948-4bf4-bb5c-4b9a41a9bd01" providerId="ADAL" clId="{8C4A23C6-A272-4AE5-87F4-94EB44631B18}" dt="2022-01-27T16:23:52.729" v="6221" actId="20577"/>
          <ac:spMkLst>
            <pc:docMk/>
            <pc:sldMk cId="2345305854" sldId="2147229389"/>
            <ac:spMk id="20" creationId="{A5589EC1-6FB5-4D9B-8A18-C11F05ADA284}"/>
          </ac:spMkLst>
        </pc:spChg>
        <pc:spChg chg="del">
          <ac:chgData name="LAISSAOUI, Ghita" userId="ac8a0427-4948-4bf4-bb5c-4b9a41a9bd01" providerId="ADAL" clId="{8C4A23C6-A272-4AE5-87F4-94EB44631B18}" dt="2022-01-25T10:55:11.721" v="1726" actId="478"/>
          <ac:spMkLst>
            <pc:docMk/>
            <pc:sldMk cId="2345305854" sldId="2147229389"/>
            <ac:spMk id="21" creationId="{921D5CAC-1DC3-4CED-9150-EDEDAD429F30}"/>
          </ac:spMkLst>
        </pc:spChg>
        <pc:spChg chg="add del mod">
          <ac:chgData name="LAISSAOUI, Ghita" userId="ac8a0427-4948-4bf4-bb5c-4b9a41a9bd01" providerId="ADAL" clId="{8C4A23C6-A272-4AE5-87F4-94EB44631B18}" dt="2022-01-25T10:58:49.454" v="1786" actId="478"/>
          <ac:spMkLst>
            <pc:docMk/>
            <pc:sldMk cId="2345305854" sldId="2147229389"/>
            <ac:spMk id="22" creationId="{E11AD4BE-90D3-4367-AF5B-4A39161C65A0}"/>
          </ac:spMkLst>
        </pc:spChg>
        <pc:spChg chg="add mod">
          <ac:chgData name="LAISSAOUI, Ghita" userId="ac8a0427-4948-4bf4-bb5c-4b9a41a9bd01" providerId="ADAL" clId="{8C4A23C6-A272-4AE5-87F4-94EB44631B18}" dt="2022-01-31T09:23:10.139" v="8976" actId="121"/>
          <ac:spMkLst>
            <pc:docMk/>
            <pc:sldMk cId="2345305854" sldId="2147229389"/>
            <ac:spMk id="23" creationId="{94D73F09-CF19-4AA3-82D9-B79780D4D1B2}"/>
          </ac:spMkLst>
        </pc:spChg>
        <pc:picChg chg="del">
          <ac:chgData name="LAISSAOUI, Ghita" userId="ac8a0427-4948-4bf4-bb5c-4b9a41a9bd01" providerId="ADAL" clId="{8C4A23C6-A272-4AE5-87F4-94EB44631B18}" dt="2022-01-25T10:54:39.965" v="1720" actId="478"/>
          <ac:picMkLst>
            <pc:docMk/>
            <pc:sldMk cId="2345305854" sldId="2147229389"/>
            <ac:picMk id="12" creationId="{4690D590-042B-47F7-9DE9-53E8E489E4D7}"/>
          </ac:picMkLst>
        </pc:picChg>
        <pc:picChg chg="del">
          <ac:chgData name="LAISSAOUI, Ghita" userId="ac8a0427-4948-4bf4-bb5c-4b9a41a9bd01" providerId="ADAL" clId="{8C4A23C6-A272-4AE5-87F4-94EB44631B18}" dt="2022-01-31T07:36:58.496" v="8609" actId="478"/>
          <ac:picMkLst>
            <pc:docMk/>
            <pc:sldMk cId="2345305854" sldId="2147229389"/>
            <ac:picMk id="17" creationId="{FB4191D7-7233-4869-A3C9-40AC74E72D5E}"/>
          </ac:picMkLst>
        </pc:picChg>
        <pc:picChg chg="add del mod modCrop">
          <ac:chgData name="LAISSAOUI, Ghita" userId="ac8a0427-4948-4bf4-bb5c-4b9a41a9bd01" providerId="ADAL" clId="{8C4A23C6-A272-4AE5-87F4-94EB44631B18}" dt="2022-01-31T07:37:28.307" v="8614" actId="1076"/>
          <ac:picMkLst>
            <pc:docMk/>
            <pc:sldMk cId="2345305854" sldId="2147229389"/>
            <ac:picMk id="21" creationId="{B57936E2-F967-47BC-AEBB-674EEDB26D03}"/>
          </ac:picMkLst>
        </pc:picChg>
        <pc:picChg chg="add mod">
          <ac:chgData name="LAISSAOUI, Ghita" userId="ac8a0427-4948-4bf4-bb5c-4b9a41a9bd01" providerId="ADAL" clId="{8C4A23C6-A272-4AE5-87F4-94EB44631B18}" dt="2022-01-25T15:16:12.002" v="3187"/>
          <ac:picMkLst>
            <pc:docMk/>
            <pc:sldMk cId="2345305854" sldId="2147229389"/>
            <ac:picMk id="24" creationId="{D38286FB-3E08-480F-865A-43387A22C499}"/>
          </ac:picMkLst>
        </pc:picChg>
        <pc:picChg chg="add mod">
          <ac:chgData name="LAISSAOUI, Ghita" userId="ac8a0427-4948-4bf4-bb5c-4b9a41a9bd01" providerId="ADAL" clId="{8C4A23C6-A272-4AE5-87F4-94EB44631B18}" dt="2022-01-25T15:15:46.775" v="3181" actId="1076"/>
          <ac:picMkLst>
            <pc:docMk/>
            <pc:sldMk cId="2345305854" sldId="2147229389"/>
            <ac:picMk id="25" creationId="{CD201360-C78E-4091-9C25-81B8BD4FCC85}"/>
          </ac:picMkLst>
        </pc:picChg>
        <pc:picChg chg="del">
          <ac:chgData name="LAISSAOUI, Ghita" userId="ac8a0427-4948-4bf4-bb5c-4b9a41a9bd01" providerId="ADAL" clId="{8C4A23C6-A272-4AE5-87F4-94EB44631B18}" dt="2022-01-25T10:54:37.048" v="1719" actId="478"/>
          <ac:picMkLst>
            <pc:docMk/>
            <pc:sldMk cId="2345305854" sldId="2147229389"/>
            <ac:picMk id="2050" creationId="{A7390896-FFAC-4B31-85DE-C827994EA6CF}"/>
          </ac:picMkLst>
        </pc:picChg>
      </pc:sldChg>
      <pc:sldChg chg="modSp del mod modNotesTx">
        <pc:chgData name="LAISSAOUI, Ghita" userId="ac8a0427-4948-4bf4-bb5c-4b9a41a9bd01" providerId="ADAL" clId="{8C4A23C6-A272-4AE5-87F4-94EB44631B18}" dt="2022-01-25T08:55:51.585" v="231" actId="47"/>
        <pc:sldMkLst>
          <pc:docMk/>
          <pc:sldMk cId="1137901072" sldId="2147229390"/>
        </pc:sldMkLst>
        <pc:spChg chg="mod">
          <ac:chgData name="LAISSAOUI, Ghita" userId="ac8a0427-4948-4bf4-bb5c-4b9a41a9bd01" providerId="ADAL" clId="{8C4A23C6-A272-4AE5-87F4-94EB44631B18}" dt="2022-01-24T17:58:27.278" v="38" actId="121"/>
          <ac:spMkLst>
            <pc:docMk/>
            <pc:sldMk cId="1137901072" sldId="2147229390"/>
            <ac:spMk id="76" creationId="{6068F212-2BCB-4CDD-9019-4A7B22252EDC}"/>
          </ac:spMkLst>
        </pc:spChg>
      </pc:sldChg>
      <pc:sldChg chg="addSp delSp modSp del mod">
        <pc:chgData name="LAISSAOUI, Ghita" userId="ac8a0427-4948-4bf4-bb5c-4b9a41a9bd01" providerId="ADAL" clId="{8C4A23C6-A272-4AE5-87F4-94EB44631B18}" dt="2022-01-31T06:44:50.031" v="7678" actId="47"/>
        <pc:sldMkLst>
          <pc:docMk/>
          <pc:sldMk cId="4071503139" sldId="2147229391"/>
        </pc:sldMkLst>
        <pc:spChg chg="mod ord">
          <ac:chgData name="LAISSAOUI, Ghita" userId="ac8a0427-4948-4bf4-bb5c-4b9a41a9bd01" providerId="ADAL" clId="{8C4A23C6-A272-4AE5-87F4-94EB44631B18}" dt="2022-01-31T06:41:03.041" v="7635" actId="1076"/>
          <ac:spMkLst>
            <pc:docMk/>
            <pc:sldMk cId="4071503139" sldId="2147229391"/>
            <ac:spMk id="3" creationId="{52677189-9371-4B68-973B-E35FFBFB6565}"/>
          </ac:spMkLst>
        </pc:spChg>
        <pc:spChg chg="del">
          <ac:chgData name="LAISSAOUI, Ghita" userId="ac8a0427-4948-4bf4-bb5c-4b9a41a9bd01" providerId="ADAL" clId="{8C4A23C6-A272-4AE5-87F4-94EB44631B18}" dt="2022-01-27T15:21:22.061" v="5605" actId="478"/>
          <ac:spMkLst>
            <pc:docMk/>
            <pc:sldMk cId="4071503139" sldId="2147229391"/>
            <ac:spMk id="4" creationId="{011D7D11-1AD6-4F93-9BDC-78A31821D181}"/>
          </ac:spMkLst>
        </pc:spChg>
        <pc:spChg chg="add mod">
          <ac:chgData name="LAISSAOUI, Ghita" userId="ac8a0427-4948-4bf4-bb5c-4b9a41a9bd01" providerId="ADAL" clId="{8C4A23C6-A272-4AE5-87F4-94EB44631B18}" dt="2022-01-27T08:40:13.108" v="3972" actId="164"/>
          <ac:spMkLst>
            <pc:docMk/>
            <pc:sldMk cId="4071503139" sldId="2147229391"/>
            <ac:spMk id="8" creationId="{8B2F505F-D284-4F8D-890C-F38E9E385C72}"/>
          </ac:spMkLst>
        </pc:spChg>
        <pc:spChg chg="add mod ord">
          <ac:chgData name="LAISSAOUI, Ghita" userId="ac8a0427-4948-4bf4-bb5c-4b9a41a9bd01" providerId="ADAL" clId="{8C4A23C6-A272-4AE5-87F4-94EB44631B18}" dt="2022-01-27T08:40:13.108" v="3972" actId="164"/>
          <ac:spMkLst>
            <pc:docMk/>
            <pc:sldMk cId="4071503139" sldId="2147229391"/>
            <ac:spMk id="9" creationId="{51EF5743-5652-4F6D-8005-D0306486E7EE}"/>
          </ac:spMkLst>
        </pc:spChg>
        <pc:spChg chg="add mod">
          <ac:chgData name="LAISSAOUI, Ghita" userId="ac8a0427-4948-4bf4-bb5c-4b9a41a9bd01" providerId="ADAL" clId="{8C4A23C6-A272-4AE5-87F4-94EB44631B18}" dt="2022-01-31T06:41:07.585" v="7637" actId="571"/>
          <ac:spMkLst>
            <pc:docMk/>
            <pc:sldMk cId="4071503139" sldId="2147229391"/>
            <ac:spMk id="14" creationId="{CB839F94-6669-4E7C-89E6-75626D918307}"/>
          </ac:spMkLst>
        </pc:spChg>
        <pc:spChg chg="add mod">
          <ac:chgData name="LAISSAOUI, Ghita" userId="ac8a0427-4948-4bf4-bb5c-4b9a41a9bd01" providerId="ADAL" clId="{8C4A23C6-A272-4AE5-87F4-94EB44631B18}" dt="2022-01-31T06:41:07.585" v="7637" actId="571"/>
          <ac:spMkLst>
            <pc:docMk/>
            <pc:sldMk cId="4071503139" sldId="2147229391"/>
            <ac:spMk id="15" creationId="{E01352E1-3461-4A08-9FB2-CF68C9BF8550}"/>
          </ac:spMkLst>
        </pc:spChg>
        <pc:grpChg chg="add del mod">
          <ac:chgData name="LAISSAOUI, Ghita" userId="ac8a0427-4948-4bf4-bb5c-4b9a41a9bd01" providerId="ADAL" clId="{8C4A23C6-A272-4AE5-87F4-94EB44631B18}" dt="2022-01-31T06:39:45.975" v="7630" actId="478"/>
          <ac:grpSpMkLst>
            <pc:docMk/>
            <pc:sldMk cId="4071503139" sldId="2147229391"/>
            <ac:grpSpMk id="10" creationId="{A4EEEFEC-0801-48E8-AA1B-EC73EC043EB3}"/>
          </ac:grpSpMkLst>
        </pc:grpChg>
        <pc:picChg chg="add mod ord modCrop">
          <ac:chgData name="LAISSAOUI, Ghita" userId="ac8a0427-4948-4bf4-bb5c-4b9a41a9bd01" providerId="ADAL" clId="{8C4A23C6-A272-4AE5-87F4-94EB44631B18}" dt="2022-01-31T06:40:13.902" v="7632" actId="1076"/>
          <ac:picMkLst>
            <pc:docMk/>
            <pc:sldMk cId="4071503139" sldId="2147229391"/>
            <ac:picMk id="5" creationId="{0B88EC29-2E6B-4DBD-9CC1-3FC60D72F36C}"/>
          </ac:picMkLst>
        </pc:picChg>
        <pc:picChg chg="add del mod">
          <ac:chgData name="LAISSAOUI, Ghita" userId="ac8a0427-4948-4bf4-bb5c-4b9a41a9bd01" providerId="ADAL" clId="{8C4A23C6-A272-4AE5-87F4-94EB44631B18}" dt="2022-01-27T08:28:42.202" v="3964" actId="478"/>
          <ac:picMkLst>
            <pc:docMk/>
            <pc:sldMk cId="4071503139" sldId="2147229391"/>
            <ac:picMk id="7" creationId="{E1FE35F5-3F90-4E54-93BE-1BBC25856675}"/>
          </ac:picMkLst>
        </pc:picChg>
        <pc:picChg chg="add mod">
          <ac:chgData name="LAISSAOUI, Ghita" userId="ac8a0427-4948-4bf4-bb5c-4b9a41a9bd01" providerId="ADAL" clId="{8C4A23C6-A272-4AE5-87F4-94EB44631B18}" dt="2022-01-31T06:44:28.425" v="7675" actId="2085"/>
          <ac:picMkLst>
            <pc:docMk/>
            <pc:sldMk cId="4071503139" sldId="2147229391"/>
            <ac:picMk id="11" creationId="{9447275D-813C-4AF4-94A7-3DE0CB8A07D6}"/>
          </ac:picMkLst>
        </pc:picChg>
        <pc:picChg chg="add mod">
          <ac:chgData name="LAISSAOUI, Ghita" userId="ac8a0427-4948-4bf4-bb5c-4b9a41a9bd01" providerId="ADAL" clId="{8C4A23C6-A272-4AE5-87F4-94EB44631B18}" dt="2022-01-31T06:44:28.425" v="7675" actId="2085"/>
          <ac:picMkLst>
            <pc:docMk/>
            <pc:sldMk cId="4071503139" sldId="2147229391"/>
            <ac:picMk id="12" creationId="{B89806AB-F503-4DD2-88A1-E9D64770407B}"/>
          </ac:picMkLst>
        </pc:picChg>
        <pc:picChg chg="add mod">
          <ac:chgData name="LAISSAOUI, Ghita" userId="ac8a0427-4948-4bf4-bb5c-4b9a41a9bd01" providerId="ADAL" clId="{8C4A23C6-A272-4AE5-87F4-94EB44631B18}" dt="2022-01-31T06:44:28.425" v="7675" actId="2085"/>
          <ac:picMkLst>
            <pc:docMk/>
            <pc:sldMk cId="4071503139" sldId="2147229391"/>
            <ac:picMk id="13" creationId="{8F80D80E-7881-4060-AD83-D772BD1BADF9}"/>
          </ac:picMkLst>
        </pc:picChg>
        <pc:picChg chg="add mod">
          <ac:chgData name="LAISSAOUI, Ghita" userId="ac8a0427-4948-4bf4-bb5c-4b9a41a9bd01" providerId="ADAL" clId="{8C4A23C6-A272-4AE5-87F4-94EB44631B18}" dt="2022-01-31T06:44:07.156" v="7672" actId="571"/>
          <ac:picMkLst>
            <pc:docMk/>
            <pc:sldMk cId="4071503139" sldId="2147229391"/>
            <ac:picMk id="16" creationId="{547D24FB-392E-4FE4-8986-88010EFEF70F}"/>
          </ac:picMkLst>
        </pc:picChg>
        <pc:picChg chg="add mod">
          <ac:chgData name="LAISSAOUI, Ghita" userId="ac8a0427-4948-4bf4-bb5c-4b9a41a9bd01" providerId="ADAL" clId="{8C4A23C6-A272-4AE5-87F4-94EB44631B18}" dt="2022-01-31T06:44:07.156" v="7672" actId="571"/>
          <ac:picMkLst>
            <pc:docMk/>
            <pc:sldMk cId="4071503139" sldId="2147229391"/>
            <ac:picMk id="17" creationId="{037A03A7-9623-4641-A0D7-612B0E0D8C14}"/>
          </ac:picMkLst>
        </pc:picChg>
      </pc:sldChg>
      <pc:sldChg chg="addSp modSp add del">
        <pc:chgData name="LAISSAOUI, Ghita" userId="ac8a0427-4948-4bf4-bb5c-4b9a41a9bd01" providerId="ADAL" clId="{8C4A23C6-A272-4AE5-87F4-94EB44631B18}" dt="2022-02-01T14:22:40.647" v="9622" actId="47"/>
        <pc:sldMkLst>
          <pc:docMk/>
          <pc:sldMk cId="2388536275" sldId="2147229392"/>
        </pc:sldMkLst>
        <pc:spChg chg="add mod">
          <ac:chgData name="LAISSAOUI, Ghita" userId="ac8a0427-4948-4bf4-bb5c-4b9a41a9bd01" providerId="ADAL" clId="{8C4A23C6-A272-4AE5-87F4-94EB44631B18}" dt="2022-01-31T09:23:27.555" v="8980"/>
          <ac:spMkLst>
            <pc:docMk/>
            <pc:sldMk cId="2388536275" sldId="2147229392"/>
            <ac:spMk id="6" creationId="{202E7910-CD90-4486-817B-D92EF0674216}"/>
          </ac:spMkLst>
        </pc:spChg>
      </pc:sldChg>
      <pc:sldChg chg="addSp delSp modSp del mod modNotesTx">
        <pc:chgData name="LAISSAOUI, Ghita" userId="ac8a0427-4948-4bf4-bb5c-4b9a41a9bd01" providerId="ADAL" clId="{8C4A23C6-A272-4AE5-87F4-94EB44631B18}" dt="2022-01-31T06:50:05.501" v="7705" actId="47"/>
        <pc:sldMkLst>
          <pc:docMk/>
          <pc:sldMk cId="3693210627" sldId="2147229392"/>
        </pc:sldMkLst>
        <pc:spChg chg="del">
          <ac:chgData name="LAISSAOUI, Ghita" userId="ac8a0427-4948-4bf4-bb5c-4b9a41a9bd01" providerId="ADAL" clId="{8C4A23C6-A272-4AE5-87F4-94EB44631B18}" dt="2022-01-27T08:50:06.288" v="4106" actId="478"/>
          <ac:spMkLst>
            <pc:docMk/>
            <pc:sldMk cId="3693210627" sldId="2147229392"/>
            <ac:spMk id="2" creationId="{F697026E-807C-4486-A40B-825D1A66EC12}"/>
          </ac:spMkLst>
        </pc:spChg>
        <pc:spChg chg="del">
          <ac:chgData name="LAISSAOUI, Ghita" userId="ac8a0427-4948-4bf4-bb5c-4b9a41a9bd01" providerId="ADAL" clId="{8C4A23C6-A272-4AE5-87F4-94EB44631B18}" dt="2022-01-24T17:55:24.291" v="25" actId="478"/>
          <ac:spMkLst>
            <pc:docMk/>
            <pc:sldMk cId="3693210627" sldId="2147229392"/>
            <ac:spMk id="7" creationId="{5C4F893A-3720-49C3-9AC4-7DF4E1A7F0B4}"/>
          </ac:spMkLst>
        </pc:spChg>
        <pc:spChg chg="add mod">
          <ac:chgData name="LAISSAOUI, Ghita" userId="ac8a0427-4948-4bf4-bb5c-4b9a41a9bd01" providerId="ADAL" clId="{8C4A23C6-A272-4AE5-87F4-94EB44631B18}" dt="2022-01-24T17:55:24.670" v="26"/>
          <ac:spMkLst>
            <pc:docMk/>
            <pc:sldMk cId="3693210627" sldId="2147229392"/>
            <ac:spMk id="8" creationId="{EBD51FE3-0C7C-4E2D-962B-E49934EA2DFC}"/>
          </ac:spMkLst>
        </pc:spChg>
        <pc:picChg chg="mod modCrop">
          <ac:chgData name="LAISSAOUI, Ghita" userId="ac8a0427-4948-4bf4-bb5c-4b9a41a9bd01" providerId="ADAL" clId="{8C4A23C6-A272-4AE5-87F4-94EB44631B18}" dt="2022-01-27T08:49:47.202" v="4105" actId="12789"/>
          <ac:picMkLst>
            <pc:docMk/>
            <pc:sldMk cId="3693210627" sldId="2147229392"/>
            <ac:picMk id="4" creationId="{77A4FE12-1B93-4FA5-9D9F-5BA43724FED1}"/>
          </ac:picMkLst>
        </pc:picChg>
        <pc:picChg chg="add mod modCrop">
          <ac:chgData name="LAISSAOUI, Ghita" userId="ac8a0427-4948-4bf4-bb5c-4b9a41a9bd01" providerId="ADAL" clId="{8C4A23C6-A272-4AE5-87F4-94EB44631B18}" dt="2022-01-27T08:49:47.202" v="4105" actId="12789"/>
          <ac:picMkLst>
            <pc:docMk/>
            <pc:sldMk cId="3693210627" sldId="2147229392"/>
            <ac:picMk id="10" creationId="{4DC601A4-A2EC-4A15-980D-E49EC7AB3AF2}"/>
          </ac:picMkLst>
        </pc:picChg>
        <pc:picChg chg="add mod modCrop">
          <ac:chgData name="LAISSAOUI, Ghita" userId="ac8a0427-4948-4bf4-bb5c-4b9a41a9bd01" providerId="ADAL" clId="{8C4A23C6-A272-4AE5-87F4-94EB44631B18}" dt="2022-01-27T08:49:47.202" v="4105" actId="12789"/>
          <ac:picMkLst>
            <pc:docMk/>
            <pc:sldMk cId="3693210627" sldId="2147229392"/>
            <ac:picMk id="11" creationId="{77ACBFC3-1BEA-4B9B-AE73-C559ED9C323C}"/>
          </ac:picMkLst>
        </pc:picChg>
        <pc:picChg chg="add mod modCrop">
          <ac:chgData name="LAISSAOUI, Ghita" userId="ac8a0427-4948-4bf4-bb5c-4b9a41a9bd01" providerId="ADAL" clId="{8C4A23C6-A272-4AE5-87F4-94EB44631B18}" dt="2022-01-27T08:49:47.202" v="4105" actId="12789"/>
          <ac:picMkLst>
            <pc:docMk/>
            <pc:sldMk cId="3693210627" sldId="2147229392"/>
            <ac:picMk id="12" creationId="{CC196FC7-2530-4868-A579-369646272F10}"/>
          </ac:picMkLst>
        </pc:picChg>
        <pc:picChg chg="add mod modCrop">
          <ac:chgData name="LAISSAOUI, Ghita" userId="ac8a0427-4948-4bf4-bb5c-4b9a41a9bd01" providerId="ADAL" clId="{8C4A23C6-A272-4AE5-87F4-94EB44631B18}" dt="2022-01-27T08:49:47.202" v="4105" actId="12789"/>
          <ac:picMkLst>
            <pc:docMk/>
            <pc:sldMk cId="3693210627" sldId="2147229392"/>
            <ac:picMk id="13" creationId="{C75D35F2-AEBF-48DD-AF39-A1B3E44AD484}"/>
          </ac:picMkLst>
        </pc:picChg>
      </pc:sldChg>
      <pc:sldChg chg="delSp modSp add del mod modNotesTx">
        <pc:chgData name="LAISSAOUI, Ghita" userId="ac8a0427-4948-4bf4-bb5c-4b9a41a9bd01" providerId="ADAL" clId="{8C4A23C6-A272-4AE5-87F4-94EB44631B18}" dt="2022-01-31T07:04:21.601" v="8081" actId="47"/>
        <pc:sldMkLst>
          <pc:docMk/>
          <pc:sldMk cId="935599861" sldId="2147229393"/>
        </pc:sldMkLst>
        <pc:spChg chg="mod">
          <ac:chgData name="LAISSAOUI, Ghita" userId="ac8a0427-4948-4bf4-bb5c-4b9a41a9bd01" providerId="ADAL" clId="{8C4A23C6-A272-4AE5-87F4-94EB44631B18}" dt="2022-01-25T08:17:20.733" v="154" actId="20577"/>
          <ac:spMkLst>
            <pc:docMk/>
            <pc:sldMk cId="935599861" sldId="2147229393"/>
            <ac:spMk id="7" creationId="{3DA94280-24D9-4AB5-9275-46F9BF72BED8}"/>
          </ac:spMkLst>
        </pc:spChg>
        <pc:spChg chg="del">
          <ac:chgData name="LAISSAOUI, Ghita" userId="ac8a0427-4948-4bf4-bb5c-4b9a41a9bd01" providerId="ADAL" clId="{8C4A23C6-A272-4AE5-87F4-94EB44631B18}" dt="2022-01-25T08:17:26.593" v="155" actId="478"/>
          <ac:spMkLst>
            <pc:docMk/>
            <pc:sldMk cId="935599861" sldId="2147229393"/>
            <ac:spMk id="12" creationId="{DF85BB92-90C1-43DE-85F4-A3CD415FF9E0}"/>
          </ac:spMkLst>
        </pc:spChg>
        <pc:spChg chg="del">
          <ac:chgData name="LAISSAOUI, Ghita" userId="ac8a0427-4948-4bf4-bb5c-4b9a41a9bd01" providerId="ADAL" clId="{8C4A23C6-A272-4AE5-87F4-94EB44631B18}" dt="2022-01-25T08:17:26.593" v="155" actId="478"/>
          <ac:spMkLst>
            <pc:docMk/>
            <pc:sldMk cId="935599861" sldId="2147229393"/>
            <ac:spMk id="14" creationId="{46783008-84B6-4DB5-97B4-F41C2785741F}"/>
          </ac:spMkLst>
        </pc:spChg>
        <pc:spChg chg="del">
          <ac:chgData name="LAISSAOUI, Ghita" userId="ac8a0427-4948-4bf4-bb5c-4b9a41a9bd01" providerId="ADAL" clId="{8C4A23C6-A272-4AE5-87F4-94EB44631B18}" dt="2022-01-25T08:17:26.593" v="155" actId="478"/>
          <ac:spMkLst>
            <pc:docMk/>
            <pc:sldMk cId="935599861" sldId="2147229393"/>
            <ac:spMk id="15" creationId="{F1D98A11-A787-4104-84BD-977905EE34B1}"/>
          </ac:spMkLst>
        </pc:spChg>
        <pc:spChg chg="del">
          <ac:chgData name="LAISSAOUI, Ghita" userId="ac8a0427-4948-4bf4-bb5c-4b9a41a9bd01" providerId="ADAL" clId="{8C4A23C6-A272-4AE5-87F4-94EB44631B18}" dt="2022-01-25T08:17:26.593" v="155" actId="478"/>
          <ac:spMkLst>
            <pc:docMk/>
            <pc:sldMk cId="935599861" sldId="2147229393"/>
            <ac:spMk id="16" creationId="{5204DFF9-BDC8-411B-900D-95F1207E4ED7}"/>
          </ac:spMkLst>
        </pc:spChg>
        <pc:spChg chg="del">
          <ac:chgData name="LAISSAOUI, Ghita" userId="ac8a0427-4948-4bf4-bb5c-4b9a41a9bd01" providerId="ADAL" clId="{8C4A23C6-A272-4AE5-87F4-94EB44631B18}" dt="2022-01-25T08:17:26.593" v="155" actId="478"/>
          <ac:spMkLst>
            <pc:docMk/>
            <pc:sldMk cId="935599861" sldId="2147229393"/>
            <ac:spMk id="17" creationId="{A27D0D46-4377-4BC0-A968-0FC76A65116A}"/>
          </ac:spMkLst>
        </pc:spChg>
        <pc:spChg chg="del">
          <ac:chgData name="LAISSAOUI, Ghita" userId="ac8a0427-4948-4bf4-bb5c-4b9a41a9bd01" providerId="ADAL" clId="{8C4A23C6-A272-4AE5-87F4-94EB44631B18}" dt="2022-01-25T08:17:26.593" v="155" actId="478"/>
          <ac:spMkLst>
            <pc:docMk/>
            <pc:sldMk cId="935599861" sldId="2147229393"/>
            <ac:spMk id="19" creationId="{242B5C7C-D790-4448-9537-6CE3CAF80B84}"/>
          </ac:spMkLst>
        </pc:spChg>
        <pc:picChg chg="del">
          <ac:chgData name="LAISSAOUI, Ghita" userId="ac8a0427-4948-4bf4-bb5c-4b9a41a9bd01" providerId="ADAL" clId="{8C4A23C6-A272-4AE5-87F4-94EB44631B18}" dt="2022-01-25T08:17:26.593" v="155" actId="478"/>
          <ac:picMkLst>
            <pc:docMk/>
            <pc:sldMk cId="935599861" sldId="2147229393"/>
            <ac:picMk id="13" creationId="{5F1EF2A6-FE8C-47E5-97F1-BC638FDAAD38}"/>
          </ac:picMkLst>
        </pc:picChg>
      </pc:sldChg>
      <pc:sldChg chg="addSp modSp add del mod modShow">
        <pc:chgData name="LAISSAOUI, Ghita" userId="ac8a0427-4948-4bf4-bb5c-4b9a41a9bd01" providerId="ADAL" clId="{8C4A23C6-A272-4AE5-87F4-94EB44631B18}" dt="2022-02-01T14:22:44.224" v="9623" actId="47"/>
        <pc:sldMkLst>
          <pc:docMk/>
          <pc:sldMk cId="3396787866" sldId="2147229393"/>
        </pc:sldMkLst>
        <pc:spChg chg="add mod">
          <ac:chgData name="LAISSAOUI, Ghita" userId="ac8a0427-4948-4bf4-bb5c-4b9a41a9bd01" providerId="ADAL" clId="{8C4A23C6-A272-4AE5-87F4-94EB44631B18}" dt="2022-01-31T09:23:24.655" v="8979"/>
          <ac:spMkLst>
            <pc:docMk/>
            <pc:sldMk cId="3396787866" sldId="2147229393"/>
            <ac:spMk id="4" creationId="{9B9D6105-A9A5-4909-BF6F-CEA9D4727A7E}"/>
          </ac:spMkLst>
        </pc:spChg>
      </pc:sldChg>
      <pc:sldChg chg="addSp modSp add del">
        <pc:chgData name="LAISSAOUI, Ghita" userId="ac8a0427-4948-4bf4-bb5c-4b9a41a9bd01" providerId="ADAL" clId="{8C4A23C6-A272-4AE5-87F4-94EB44631B18}" dt="2022-02-01T14:22:40.647" v="9622" actId="47"/>
        <pc:sldMkLst>
          <pc:docMk/>
          <pc:sldMk cId="1592035847" sldId="2147229394"/>
        </pc:sldMkLst>
        <pc:spChg chg="add mod">
          <ac:chgData name="LAISSAOUI, Ghita" userId="ac8a0427-4948-4bf4-bb5c-4b9a41a9bd01" providerId="ADAL" clId="{8C4A23C6-A272-4AE5-87F4-94EB44631B18}" dt="2022-01-31T09:23:32.147" v="8981"/>
          <ac:spMkLst>
            <pc:docMk/>
            <pc:sldMk cId="1592035847" sldId="2147229394"/>
            <ac:spMk id="7" creationId="{6F432156-691D-4078-A359-3188FA33032A}"/>
          </ac:spMkLst>
        </pc:spChg>
      </pc:sldChg>
      <pc:sldChg chg="addSp modSp add del mod modShow modNotesTx">
        <pc:chgData name="LAISSAOUI, Ghita" userId="ac8a0427-4948-4bf4-bb5c-4b9a41a9bd01" providerId="ADAL" clId="{8C4A23C6-A272-4AE5-87F4-94EB44631B18}" dt="2022-01-25T10:01:55.118" v="1036" actId="47"/>
        <pc:sldMkLst>
          <pc:docMk/>
          <pc:sldMk cId="3925908255" sldId="2147229394"/>
        </pc:sldMkLst>
        <pc:spChg chg="mod">
          <ac:chgData name="LAISSAOUI, Ghita" userId="ac8a0427-4948-4bf4-bb5c-4b9a41a9bd01" providerId="ADAL" clId="{8C4A23C6-A272-4AE5-87F4-94EB44631B18}" dt="2022-01-25T09:03:42.398" v="300" actId="20577"/>
          <ac:spMkLst>
            <pc:docMk/>
            <pc:sldMk cId="3925908255" sldId="2147229394"/>
            <ac:spMk id="8" creationId="{B353A753-5954-47E8-9AB8-006D99704998}"/>
          </ac:spMkLst>
        </pc:spChg>
        <pc:spChg chg="mod">
          <ac:chgData name="LAISSAOUI, Ghita" userId="ac8a0427-4948-4bf4-bb5c-4b9a41a9bd01" providerId="ADAL" clId="{8C4A23C6-A272-4AE5-87F4-94EB44631B18}" dt="2022-01-25T09:05:14.122" v="318" actId="14100"/>
          <ac:spMkLst>
            <pc:docMk/>
            <pc:sldMk cId="3925908255" sldId="2147229394"/>
            <ac:spMk id="120" creationId="{F081CE65-1983-4060-8CC2-5DA29610FFD0}"/>
          </ac:spMkLst>
        </pc:spChg>
        <pc:spChg chg="mod">
          <ac:chgData name="LAISSAOUI, Ghita" userId="ac8a0427-4948-4bf4-bb5c-4b9a41a9bd01" providerId="ADAL" clId="{8C4A23C6-A272-4AE5-87F4-94EB44631B18}" dt="2022-01-25T09:02:55.876" v="299" actId="20577"/>
          <ac:spMkLst>
            <pc:docMk/>
            <pc:sldMk cId="3925908255" sldId="2147229394"/>
            <ac:spMk id="121" creationId="{81D275D6-6FDE-4622-B60A-18D1AEE0AF2D}"/>
          </ac:spMkLst>
        </pc:spChg>
        <pc:spChg chg="mod">
          <ac:chgData name="LAISSAOUI, Ghita" userId="ac8a0427-4948-4bf4-bb5c-4b9a41a9bd01" providerId="ADAL" clId="{8C4A23C6-A272-4AE5-87F4-94EB44631B18}" dt="2022-01-25T09:05:23.283" v="331" actId="20577"/>
          <ac:spMkLst>
            <pc:docMk/>
            <pc:sldMk cId="3925908255" sldId="2147229394"/>
            <ac:spMk id="122" creationId="{16E9B3CD-329B-4CD1-BA7F-AC472B17E2EE}"/>
          </ac:spMkLst>
        </pc:spChg>
        <pc:spChg chg="mod">
          <ac:chgData name="LAISSAOUI, Ghita" userId="ac8a0427-4948-4bf4-bb5c-4b9a41a9bd01" providerId="ADAL" clId="{8C4A23C6-A272-4AE5-87F4-94EB44631B18}" dt="2022-01-25T08:59:15.344" v="290" actId="20577"/>
          <ac:spMkLst>
            <pc:docMk/>
            <pc:sldMk cId="3925908255" sldId="2147229394"/>
            <ac:spMk id="123" creationId="{0F224FC7-1145-4945-8C8A-7429FC04ED85}"/>
          </ac:spMkLst>
        </pc:spChg>
        <pc:picChg chg="add mod">
          <ac:chgData name="LAISSAOUI, Ghita" userId="ac8a0427-4948-4bf4-bb5c-4b9a41a9bd01" providerId="ADAL" clId="{8C4A23C6-A272-4AE5-87F4-94EB44631B18}" dt="2022-01-25T09:53:18.043" v="979" actId="1076"/>
          <ac:picMkLst>
            <pc:docMk/>
            <pc:sldMk cId="3925908255" sldId="2147229394"/>
            <ac:picMk id="3" creationId="{F59057F0-80F7-468A-B93F-2708141FD01A}"/>
          </ac:picMkLst>
        </pc:picChg>
      </pc:sldChg>
      <pc:sldChg chg="addSp delSp modSp add del mod ord modNotesTx">
        <pc:chgData name="LAISSAOUI, Ghita" userId="ac8a0427-4948-4bf4-bb5c-4b9a41a9bd01" providerId="ADAL" clId="{8C4A23C6-A272-4AE5-87F4-94EB44631B18}" dt="2022-02-01T12:35:49.647" v="9600" actId="47"/>
        <pc:sldMkLst>
          <pc:docMk/>
          <pc:sldMk cId="101242816" sldId="2147229395"/>
        </pc:sldMkLst>
        <pc:spChg chg="add del mod">
          <ac:chgData name="LAISSAOUI, Ghita" userId="ac8a0427-4948-4bf4-bb5c-4b9a41a9bd01" providerId="ADAL" clId="{8C4A23C6-A272-4AE5-87F4-94EB44631B18}" dt="2022-01-27T15:35:51.621" v="5775" actId="478"/>
          <ac:spMkLst>
            <pc:docMk/>
            <pc:sldMk cId="101242816" sldId="2147229395"/>
            <ac:spMk id="4" creationId="{C78B8965-8F5A-45E2-94BC-C498B1770BE4}"/>
          </ac:spMkLst>
        </pc:spChg>
        <pc:spChg chg="add del mod">
          <ac:chgData name="LAISSAOUI, Ghita" userId="ac8a0427-4948-4bf4-bb5c-4b9a41a9bd01" providerId="ADAL" clId="{8C4A23C6-A272-4AE5-87F4-94EB44631B18}" dt="2022-01-27T15:35:29.269" v="5758"/>
          <ac:spMkLst>
            <pc:docMk/>
            <pc:sldMk cId="101242816" sldId="2147229395"/>
            <ac:spMk id="5" creationId="{828BE6D0-58FA-46FB-8662-FCC3EA43CCE8}"/>
          </ac:spMkLst>
        </pc:spChg>
        <pc:spChg chg="add del mod">
          <ac:chgData name="LAISSAOUI, Ghita" userId="ac8a0427-4948-4bf4-bb5c-4b9a41a9bd01" providerId="ADAL" clId="{8C4A23C6-A272-4AE5-87F4-94EB44631B18}" dt="2022-01-27T15:35:29.269" v="5758"/>
          <ac:spMkLst>
            <pc:docMk/>
            <pc:sldMk cId="101242816" sldId="2147229395"/>
            <ac:spMk id="6" creationId="{299C075E-7F23-425E-A821-0FB4F7C76D59}"/>
          </ac:spMkLst>
        </pc:spChg>
        <pc:spChg chg="add mod">
          <ac:chgData name="LAISSAOUI, Ghita" userId="ac8a0427-4948-4bf4-bb5c-4b9a41a9bd01" providerId="ADAL" clId="{8C4A23C6-A272-4AE5-87F4-94EB44631B18}" dt="2022-01-28T16:10:54.351" v="7441" actId="20577"/>
          <ac:spMkLst>
            <pc:docMk/>
            <pc:sldMk cId="101242816" sldId="2147229395"/>
            <ac:spMk id="7" creationId="{F64AF913-53F0-4E15-8624-B36EA4067070}"/>
          </ac:spMkLst>
        </pc:spChg>
        <pc:spChg chg="del mod">
          <ac:chgData name="LAISSAOUI, Ghita" userId="ac8a0427-4948-4bf4-bb5c-4b9a41a9bd01" providerId="ADAL" clId="{8C4A23C6-A272-4AE5-87F4-94EB44631B18}" dt="2022-01-27T15:35:48.162" v="5774" actId="478"/>
          <ac:spMkLst>
            <pc:docMk/>
            <pc:sldMk cId="101242816" sldId="2147229395"/>
            <ac:spMk id="8" creationId="{B353A753-5954-47E8-9AB8-006D99704998}"/>
          </ac:spMkLst>
        </pc:spChg>
        <pc:spChg chg="add del mod">
          <ac:chgData name="LAISSAOUI, Ghita" userId="ac8a0427-4948-4bf4-bb5c-4b9a41a9bd01" providerId="ADAL" clId="{8C4A23C6-A272-4AE5-87F4-94EB44631B18}" dt="2022-01-28T16:10:57.701" v="7443" actId="478"/>
          <ac:spMkLst>
            <pc:docMk/>
            <pc:sldMk cId="101242816" sldId="2147229395"/>
            <ac:spMk id="9" creationId="{894B9909-1BE2-4862-B75D-6987D9C43FF9}"/>
          </ac:spMkLst>
        </pc:spChg>
        <pc:spChg chg="del">
          <ac:chgData name="LAISSAOUI, Ghita" userId="ac8a0427-4948-4bf4-bb5c-4b9a41a9bd01" providerId="ADAL" clId="{8C4A23C6-A272-4AE5-87F4-94EB44631B18}" dt="2022-01-25T08:22:44.259" v="174" actId="478"/>
          <ac:spMkLst>
            <pc:docMk/>
            <pc:sldMk cId="101242816" sldId="2147229395"/>
            <ac:spMk id="120" creationId="{F081CE65-1983-4060-8CC2-5DA29610FFD0}"/>
          </ac:spMkLst>
        </pc:spChg>
        <pc:spChg chg="del">
          <ac:chgData name="LAISSAOUI, Ghita" userId="ac8a0427-4948-4bf4-bb5c-4b9a41a9bd01" providerId="ADAL" clId="{8C4A23C6-A272-4AE5-87F4-94EB44631B18}" dt="2022-01-25T08:22:29.389" v="172" actId="478"/>
          <ac:spMkLst>
            <pc:docMk/>
            <pc:sldMk cId="101242816" sldId="2147229395"/>
            <ac:spMk id="121" creationId="{81D275D6-6FDE-4622-B60A-18D1AEE0AF2D}"/>
          </ac:spMkLst>
        </pc:spChg>
        <pc:spChg chg="del">
          <ac:chgData name="LAISSAOUI, Ghita" userId="ac8a0427-4948-4bf4-bb5c-4b9a41a9bd01" providerId="ADAL" clId="{8C4A23C6-A272-4AE5-87F4-94EB44631B18}" dt="2022-01-25T08:22:15.320" v="169" actId="478"/>
          <ac:spMkLst>
            <pc:docMk/>
            <pc:sldMk cId="101242816" sldId="2147229395"/>
            <ac:spMk id="122" creationId="{16E9B3CD-329B-4CD1-BA7F-AC472B17E2EE}"/>
          </ac:spMkLst>
        </pc:spChg>
        <pc:spChg chg="del">
          <ac:chgData name="LAISSAOUI, Ghita" userId="ac8a0427-4948-4bf4-bb5c-4b9a41a9bd01" providerId="ADAL" clId="{8C4A23C6-A272-4AE5-87F4-94EB44631B18}" dt="2022-01-25T08:22:15.320" v="169" actId="478"/>
          <ac:spMkLst>
            <pc:docMk/>
            <pc:sldMk cId="101242816" sldId="2147229395"/>
            <ac:spMk id="123" creationId="{0F224FC7-1145-4945-8C8A-7429FC04ED85}"/>
          </ac:spMkLst>
        </pc:spChg>
        <pc:spChg chg="del">
          <ac:chgData name="LAISSAOUI, Ghita" userId="ac8a0427-4948-4bf4-bb5c-4b9a41a9bd01" providerId="ADAL" clId="{8C4A23C6-A272-4AE5-87F4-94EB44631B18}" dt="2022-01-25T08:22:25.660" v="171" actId="478"/>
          <ac:spMkLst>
            <pc:docMk/>
            <pc:sldMk cId="101242816" sldId="2147229395"/>
            <ac:spMk id="124" creationId="{653BBFFB-BCF2-488D-A166-5769F50FCECE}"/>
          </ac:spMkLst>
        </pc:spChg>
        <pc:spChg chg="del topLvl">
          <ac:chgData name="LAISSAOUI, Ghita" userId="ac8a0427-4948-4bf4-bb5c-4b9a41a9bd01" providerId="ADAL" clId="{8C4A23C6-A272-4AE5-87F4-94EB44631B18}" dt="2022-01-25T08:22:25.660" v="171" actId="478"/>
          <ac:spMkLst>
            <pc:docMk/>
            <pc:sldMk cId="101242816" sldId="2147229395"/>
            <ac:spMk id="146" creationId="{1B04FA01-05BC-43A6-8738-DEE0C15B66BA}"/>
          </ac:spMkLst>
        </pc:spChg>
        <pc:spChg chg="del topLvl">
          <ac:chgData name="LAISSAOUI, Ghita" userId="ac8a0427-4948-4bf4-bb5c-4b9a41a9bd01" providerId="ADAL" clId="{8C4A23C6-A272-4AE5-87F4-94EB44631B18}" dt="2022-01-25T08:22:19.485" v="170" actId="478"/>
          <ac:spMkLst>
            <pc:docMk/>
            <pc:sldMk cId="101242816" sldId="2147229395"/>
            <ac:spMk id="147" creationId="{AEF2CEDA-1CFF-43AB-A82E-210A0256F18F}"/>
          </ac:spMkLst>
        </pc:spChg>
        <pc:grpChg chg="del">
          <ac:chgData name="LAISSAOUI, Ghita" userId="ac8a0427-4948-4bf4-bb5c-4b9a41a9bd01" providerId="ADAL" clId="{8C4A23C6-A272-4AE5-87F4-94EB44631B18}" dt="2022-01-25T08:22:15.320" v="169" actId="478"/>
          <ac:grpSpMkLst>
            <pc:docMk/>
            <pc:sldMk cId="101242816" sldId="2147229395"/>
            <ac:grpSpMk id="42" creationId="{C7360260-0518-43C2-82B9-EC814D7A2551}"/>
          </ac:grpSpMkLst>
        </pc:grpChg>
        <pc:grpChg chg="del">
          <ac:chgData name="LAISSAOUI, Ghita" userId="ac8a0427-4948-4bf4-bb5c-4b9a41a9bd01" providerId="ADAL" clId="{8C4A23C6-A272-4AE5-87F4-94EB44631B18}" dt="2022-01-25T08:22:29.389" v="172" actId="478"/>
          <ac:grpSpMkLst>
            <pc:docMk/>
            <pc:sldMk cId="101242816" sldId="2147229395"/>
            <ac:grpSpMk id="62" creationId="{D5E95120-E152-4B28-88C5-4EBA4D067EC1}"/>
          </ac:grpSpMkLst>
        </pc:grpChg>
        <pc:grpChg chg="del">
          <ac:chgData name="LAISSAOUI, Ghita" userId="ac8a0427-4948-4bf4-bb5c-4b9a41a9bd01" providerId="ADAL" clId="{8C4A23C6-A272-4AE5-87F4-94EB44631B18}" dt="2022-01-25T08:22:15.320" v="169" actId="478"/>
          <ac:grpSpMkLst>
            <pc:docMk/>
            <pc:sldMk cId="101242816" sldId="2147229395"/>
            <ac:grpSpMk id="73" creationId="{5663B7CD-1DC3-42CB-A607-CC3F06E01EB4}"/>
          </ac:grpSpMkLst>
        </pc:grpChg>
        <pc:grpChg chg="del">
          <ac:chgData name="LAISSAOUI, Ghita" userId="ac8a0427-4948-4bf4-bb5c-4b9a41a9bd01" providerId="ADAL" clId="{8C4A23C6-A272-4AE5-87F4-94EB44631B18}" dt="2022-01-25T08:22:15.320" v="169" actId="478"/>
          <ac:grpSpMkLst>
            <pc:docMk/>
            <pc:sldMk cId="101242816" sldId="2147229395"/>
            <ac:grpSpMk id="82" creationId="{B556B25C-BC6F-4D26-8D52-63E4E619EBCE}"/>
          </ac:grpSpMkLst>
        </pc:grpChg>
        <pc:grpChg chg="del">
          <ac:chgData name="LAISSAOUI, Ghita" userId="ac8a0427-4948-4bf4-bb5c-4b9a41a9bd01" providerId="ADAL" clId="{8C4A23C6-A272-4AE5-87F4-94EB44631B18}" dt="2022-01-25T08:22:15.320" v="169" actId="478"/>
          <ac:grpSpMkLst>
            <pc:docMk/>
            <pc:sldMk cId="101242816" sldId="2147229395"/>
            <ac:grpSpMk id="95" creationId="{8AE8321B-91CB-40FF-88BE-3E39ED65BA15}"/>
          </ac:grpSpMkLst>
        </pc:grpChg>
        <pc:grpChg chg="del">
          <ac:chgData name="LAISSAOUI, Ghita" userId="ac8a0427-4948-4bf4-bb5c-4b9a41a9bd01" providerId="ADAL" clId="{8C4A23C6-A272-4AE5-87F4-94EB44631B18}" dt="2022-01-25T08:22:15.320" v="169" actId="478"/>
          <ac:grpSpMkLst>
            <pc:docMk/>
            <pc:sldMk cId="101242816" sldId="2147229395"/>
            <ac:grpSpMk id="106" creationId="{D5DBBC2C-7F99-4931-A37C-D0B167AC1BA7}"/>
          </ac:grpSpMkLst>
        </pc:grpChg>
        <pc:grpChg chg="del">
          <ac:chgData name="LAISSAOUI, Ghita" userId="ac8a0427-4948-4bf4-bb5c-4b9a41a9bd01" providerId="ADAL" clId="{8C4A23C6-A272-4AE5-87F4-94EB44631B18}" dt="2022-01-25T08:22:41.229" v="173" actId="478"/>
          <ac:grpSpMkLst>
            <pc:docMk/>
            <pc:sldMk cId="101242816" sldId="2147229395"/>
            <ac:grpSpMk id="125" creationId="{9AD6EFC2-C29B-43FD-B210-C4621AD7B447}"/>
          </ac:grpSpMkLst>
        </pc:grpChg>
        <pc:grpChg chg="del">
          <ac:chgData name="LAISSAOUI, Ghita" userId="ac8a0427-4948-4bf4-bb5c-4b9a41a9bd01" providerId="ADAL" clId="{8C4A23C6-A272-4AE5-87F4-94EB44631B18}" dt="2022-01-25T08:22:29.389" v="172" actId="478"/>
          <ac:grpSpMkLst>
            <pc:docMk/>
            <pc:sldMk cId="101242816" sldId="2147229395"/>
            <ac:grpSpMk id="135" creationId="{B990CEBB-53FA-4EBC-B307-D1C82D978ABD}"/>
          </ac:grpSpMkLst>
        </pc:grpChg>
        <pc:grpChg chg="del">
          <ac:chgData name="LAISSAOUI, Ghita" userId="ac8a0427-4948-4bf4-bb5c-4b9a41a9bd01" providerId="ADAL" clId="{8C4A23C6-A272-4AE5-87F4-94EB44631B18}" dt="2022-01-25T08:22:15.320" v="169" actId="478"/>
          <ac:grpSpMkLst>
            <pc:docMk/>
            <pc:sldMk cId="101242816" sldId="2147229395"/>
            <ac:grpSpMk id="138" creationId="{B38D1A4C-E4DD-424E-A10C-25C2F5739F12}"/>
          </ac:grpSpMkLst>
        </pc:grpChg>
        <pc:grpChg chg="del">
          <ac:chgData name="LAISSAOUI, Ghita" userId="ac8a0427-4948-4bf4-bb5c-4b9a41a9bd01" providerId="ADAL" clId="{8C4A23C6-A272-4AE5-87F4-94EB44631B18}" dt="2022-01-25T08:22:15.320" v="169" actId="478"/>
          <ac:grpSpMkLst>
            <pc:docMk/>
            <pc:sldMk cId="101242816" sldId="2147229395"/>
            <ac:grpSpMk id="142" creationId="{2444BF11-0406-45E7-A0A3-EE88637EC8B9}"/>
          </ac:grpSpMkLst>
        </pc:grpChg>
        <pc:grpChg chg="del">
          <ac:chgData name="LAISSAOUI, Ghita" userId="ac8a0427-4948-4bf4-bb5c-4b9a41a9bd01" providerId="ADAL" clId="{8C4A23C6-A272-4AE5-87F4-94EB44631B18}" dt="2022-01-25T08:22:19.485" v="170" actId="478"/>
          <ac:grpSpMkLst>
            <pc:docMk/>
            <pc:sldMk cId="101242816" sldId="2147229395"/>
            <ac:grpSpMk id="145" creationId="{7CB40406-BC18-4425-B099-B5B6391C97C6}"/>
          </ac:grpSpMkLst>
        </pc:grpChg>
        <pc:picChg chg="add mod">
          <ac:chgData name="LAISSAOUI, Ghita" userId="ac8a0427-4948-4bf4-bb5c-4b9a41a9bd01" providerId="ADAL" clId="{8C4A23C6-A272-4AE5-87F4-94EB44631B18}" dt="2022-01-27T16:10:30.720" v="6201" actId="1076"/>
          <ac:picMkLst>
            <pc:docMk/>
            <pc:sldMk cId="101242816" sldId="2147229395"/>
            <ac:picMk id="3" creationId="{3BC13145-7467-435B-AE9D-1FD0A3A6EE85}"/>
          </ac:picMkLst>
        </pc:picChg>
        <pc:picChg chg="del">
          <ac:chgData name="LAISSAOUI, Ghita" userId="ac8a0427-4948-4bf4-bb5c-4b9a41a9bd01" providerId="ADAL" clId="{8C4A23C6-A272-4AE5-87F4-94EB44631B18}" dt="2022-01-25T08:22:15.320" v="169" actId="478"/>
          <ac:picMkLst>
            <pc:docMk/>
            <pc:sldMk cId="101242816" sldId="2147229395"/>
            <ac:picMk id="128" creationId="{5945FE36-307E-44DA-AD11-3406CD660256}"/>
          </ac:picMkLst>
        </pc:picChg>
        <pc:picChg chg="del">
          <ac:chgData name="LAISSAOUI, Ghita" userId="ac8a0427-4948-4bf4-bb5c-4b9a41a9bd01" providerId="ADAL" clId="{8C4A23C6-A272-4AE5-87F4-94EB44631B18}" dt="2022-01-25T08:22:15.320" v="169" actId="478"/>
          <ac:picMkLst>
            <pc:docMk/>
            <pc:sldMk cId="101242816" sldId="2147229395"/>
            <ac:picMk id="141" creationId="{AE0ADEDF-494C-42A0-9BB9-B998DE8C672A}"/>
          </ac:picMkLst>
        </pc:picChg>
      </pc:sldChg>
      <pc:sldChg chg="addSp modSp add">
        <pc:chgData name="LAISSAOUI, Ghita" userId="ac8a0427-4948-4bf4-bb5c-4b9a41a9bd01" providerId="ADAL" clId="{8C4A23C6-A272-4AE5-87F4-94EB44631B18}" dt="2022-02-01T14:21:54.056" v="9608"/>
        <pc:sldMkLst>
          <pc:docMk/>
          <pc:sldMk cId="1950180443" sldId="2147229395"/>
        </pc:sldMkLst>
        <pc:spChg chg="add mod">
          <ac:chgData name="LAISSAOUI, Ghita" userId="ac8a0427-4948-4bf4-bb5c-4b9a41a9bd01" providerId="ADAL" clId="{8C4A23C6-A272-4AE5-87F4-94EB44631B18}" dt="2022-02-01T14:21:54.056" v="9608"/>
          <ac:spMkLst>
            <pc:docMk/>
            <pc:sldMk cId="1950180443" sldId="2147229395"/>
            <ac:spMk id="7" creationId="{4F70C3AB-768F-426E-B712-5F437B73627B}"/>
          </ac:spMkLst>
        </pc:spChg>
      </pc:sldChg>
      <pc:sldChg chg="addSp delSp modSp add del mod modNotesTx">
        <pc:chgData name="LAISSAOUI, Ghita" userId="ac8a0427-4948-4bf4-bb5c-4b9a41a9bd01" providerId="ADAL" clId="{8C4A23C6-A272-4AE5-87F4-94EB44631B18}" dt="2022-01-25T10:34:07.901" v="1581" actId="47"/>
        <pc:sldMkLst>
          <pc:docMk/>
          <pc:sldMk cId="2891595582" sldId="2147229396"/>
        </pc:sldMkLst>
        <pc:spChg chg="mod">
          <ac:chgData name="LAISSAOUI, Ghita" userId="ac8a0427-4948-4bf4-bb5c-4b9a41a9bd01" providerId="ADAL" clId="{8C4A23C6-A272-4AE5-87F4-94EB44631B18}" dt="2022-01-25T10:11:52.742" v="1078" actId="20577"/>
          <ac:spMkLst>
            <pc:docMk/>
            <pc:sldMk cId="2891595582" sldId="2147229396"/>
            <ac:spMk id="8" creationId="{B353A753-5954-47E8-9AB8-006D99704998}"/>
          </ac:spMkLst>
        </pc:spChg>
        <pc:picChg chg="del">
          <ac:chgData name="LAISSAOUI, Ghita" userId="ac8a0427-4948-4bf4-bb5c-4b9a41a9bd01" providerId="ADAL" clId="{8C4A23C6-A272-4AE5-87F4-94EB44631B18}" dt="2022-01-25T10:10:36.321" v="1073" actId="478"/>
          <ac:picMkLst>
            <pc:docMk/>
            <pc:sldMk cId="2891595582" sldId="2147229396"/>
            <ac:picMk id="3" creationId="{3BC13145-7467-435B-AE9D-1FD0A3A6EE85}"/>
          </ac:picMkLst>
        </pc:picChg>
        <pc:picChg chg="add mod modCrop">
          <ac:chgData name="LAISSAOUI, Ghita" userId="ac8a0427-4948-4bf4-bb5c-4b9a41a9bd01" providerId="ADAL" clId="{8C4A23C6-A272-4AE5-87F4-94EB44631B18}" dt="2022-01-25T10:24:19.506" v="1169" actId="1076"/>
          <ac:picMkLst>
            <pc:docMk/>
            <pc:sldMk cId="2891595582" sldId="2147229396"/>
            <ac:picMk id="4" creationId="{91A0F486-F59C-44FE-9186-5822C96C8546}"/>
          </ac:picMkLst>
        </pc:picChg>
      </pc:sldChg>
      <pc:sldChg chg="addSp delSp modSp add mod modNotesTx">
        <pc:chgData name="LAISSAOUI, Ghita" userId="ac8a0427-4948-4bf4-bb5c-4b9a41a9bd01" providerId="ADAL" clId="{8C4A23C6-A272-4AE5-87F4-94EB44631B18}" dt="2022-02-01T16:10:18.440" v="9819" actId="1035"/>
        <pc:sldMkLst>
          <pc:docMk/>
          <pc:sldMk cId="1649805037" sldId="2147229397"/>
        </pc:sldMkLst>
        <pc:spChg chg="add del mod">
          <ac:chgData name="LAISSAOUI, Ghita" userId="ac8a0427-4948-4bf4-bb5c-4b9a41a9bd01" providerId="ADAL" clId="{8C4A23C6-A272-4AE5-87F4-94EB44631B18}" dt="2022-01-25T13:21:02.678" v="1925" actId="478"/>
          <ac:spMkLst>
            <pc:docMk/>
            <pc:sldMk cId="1649805037" sldId="2147229397"/>
            <ac:spMk id="3" creationId="{6E6C970F-FF1E-4033-8100-AC72AB6EEC72}"/>
          </ac:spMkLst>
        </pc:spChg>
        <pc:spChg chg="add mod">
          <ac:chgData name="LAISSAOUI, Ghita" userId="ac8a0427-4948-4bf4-bb5c-4b9a41a9bd01" providerId="ADAL" clId="{8C4A23C6-A272-4AE5-87F4-94EB44631B18}" dt="2022-01-28T15:28:48.134" v="6729" actId="20577"/>
          <ac:spMkLst>
            <pc:docMk/>
            <pc:sldMk cId="1649805037" sldId="2147229397"/>
            <ac:spMk id="6" creationId="{64174D37-B147-4612-8314-766B64DEB713}"/>
          </ac:spMkLst>
        </pc:spChg>
        <pc:spChg chg="add del mod">
          <ac:chgData name="LAISSAOUI, Ghita" userId="ac8a0427-4948-4bf4-bb5c-4b9a41a9bd01" providerId="ADAL" clId="{8C4A23C6-A272-4AE5-87F4-94EB44631B18}" dt="2022-01-27T13:42:24.902" v="4830" actId="478"/>
          <ac:spMkLst>
            <pc:docMk/>
            <pc:sldMk cId="1649805037" sldId="2147229397"/>
            <ac:spMk id="7" creationId="{5DB2120A-9FB4-40CC-99A7-61BD1B923E4D}"/>
          </ac:spMkLst>
        </pc:spChg>
        <pc:spChg chg="del mod">
          <ac:chgData name="LAISSAOUI, Ghita" userId="ac8a0427-4948-4bf4-bb5c-4b9a41a9bd01" providerId="ADAL" clId="{8C4A23C6-A272-4AE5-87F4-94EB44631B18}" dt="2022-01-25T13:20:57.180" v="1923" actId="478"/>
          <ac:spMkLst>
            <pc:docMk/>
            <pc:sldMk cId="1649805037" sldId="2147229397"/>
            <ac:spMk id="8" creationId="{B353A753-5954-47E8-9AB8-006D99704998}"/>
          </ac:spMkLst>
        </pc:spChg>
        <pc:spChg chg="del">
          <ac:chgData name="LAISSAOUI, Ghita" userId="ac8a0427-4948-4bf4-bb5c-4b9a41a9bd01" providerId="ADAL" clId="{8C4A23C6-A272-4AE5-87F4-94EB44631B18}" dt="2022-01-27T13:42:20.987" v="4828" actId="478"/>
          <ac:spMkLst>
            <pc:docMk/>
            <pc:sldMk cId="1649805037" sldId="2147229397"/>
            <ac:spMk id="8" creationId="{EF59DD5F-542F-4275-96D1-2DD2FC1FF44F}"/>
          </ac:spMkLst>
        </pc:spChg>
        <pc:spChg chg="add del mod">
          <ac:chgData name="LAISSAOUI, Ghita" userId="ac8a0427-4948-4bf4-bb5c-4b9a41a9bd01" providerId="ADAL" clId="{8C4A23C6-A272-4AE5-87F4-94EB44631B18}" dt="2022-02-01T16:10:09.082" v="9796" actId="21"/>
          <ac:spMkLst>
            <pc:docMk/>
            <pc:sldMk cId="1649805037" sldId="2147229397"/>
            <ac:spMk id="9" creationId="{23FA1A77-EE55-48D6-B785-3B99A3F88714}"/>
          </ac:spMkLst>
        </pc:spChg>
        <pc:spChg chg="del mod">
          <ac:chgData name="LAISSAOUI, Ghita" userId="ac8a0427-4948-4bf4-bb5c-4b9a41a9bd01" providerId="ADAL" clId="{8C4A23C6-A272-4AE5-87F4-94EB44631B18}" dt="2022-01-27T10:39:24.960" v="4297" actId="21"/>
          <ac:spMkLst>
            <pc:docMk/>
            <pc:sldMk cId="1649805037" sldId="2147229397"/>
            <ac:spMk id="10" creationId="{68B83AF7-81B7-4157-B1C1-325E9F1028C3}"/>
          </ac:spMkLst>
        </pc:spChg>
        <pc:spChg chg="add del mod">
          <ac:chgData name="LAISSAOUI, Ghita" userId="ac8a0427-4948-4bf4-bb5c-4b9a41a9bd01" providerId="ADAL" clId="{8C4A23C6-A272-4AE5-87F4-94EB44631B18}" dt="2022-02-01T16:09:52.741" v="9791" actId="478"/>
          <ac:spMkLst>
            <pc:docMk/>
            <pc:sldMk cId="1649805037" sldId="2147229397"/>
            <ac:spMk id="10" creationId="{C63AAEFF-5030-4584-9404-EE74D15BB7F1}"/>
          </ac:spMkLst>
        </pc:spChg>
        <pc:spChg chg="add mod">
          <ac:chgData name="LAISSAOUI, Ghita" userId="ac8a0427-4948-4bf4-bb5c-4b9a41a9bd01" providerId="ADAL" clId="{8C4A23C6-A272-4AE5-87F4-94EB44631B18}" dt="2022-01-27T13:56:23.971" v="4937"/>
          <ac:spMkLst>
            <pc:docMk/>
            <pc:sldMk cId="1649805037" sldId="2147229397"/>
            <ac:spMk id="12" creationId="{57B687B4-FEB2-4549-A7CF-1ADFE2820A58}"/>
          </ac:spMkLst>
        </pc:spChg>
        <pc:spChg chg="add del mod">
          <ac:chgData name="LAISSAOUI, Ghita" userId="ac8a0427-4948-4bf4-bb5c-4b9a41a9bd01" providerId="ADAL" clId="{8C4A23C6-A272-4AE5-87F4-94EB44631B18}" dt="2022-02-01T16:09:34.547" v="9776" actId="478"/>
          <ac:spMkLst>
            <pc:docMk/>
            <pc:sldMk cId="1649805037" sldId="2147229397"/>
            <ac:spMk id="13" creationId="{03573E80-44A5-43AE-9624-D3D3542077D8}"/>
          </ac:spMkLst>
        </pc:spChg>
        <pc:spChg chg="add del mod">
          <ac:chgData name="LAISSAOUI, Ghita" userId="ac8a0427-4948-4bf4-bb5c-4b9a41a9bd01" providerId="ADAL" clId="{8C4A23C6-A272-4AE5-87F4-94EB44631B18}" dt="2022-02-01T16:10:03.192" v="9795" actId="21"/>
          <ac:spMkLst>
            <pc:docMk/>
            <pc:sldMk cId="1649805037" sldId="2147229397"/>
            <ac:spMk id="15" creationId="{94173884-DC52-4E23-AAD2-B46B221CA33E}"/>
          </ac:spMkLst>
        </pc:spChg>
        <pc:spChg chg="add mod">
          <ac:chgData name="LAISSAOUI, Ghita" userId="ac8a0427-4948-4bf4-bb5c-4b9a41a9bd01" providerId="ADAL" clId="{8C4A23C6-A272-4AE5-87F4-94EB44631B18}" dt="2022-02-01T16:10:18.440" v="9819" actId="1035"/>
          <ac:spMkLst>
            <pc:docMk/>
            <pc:sldMk cId="1649805037" sldId="2147229397"/>
            <ac:spMk id="17" creationId="{8DFDDC72-AEAD-4E4C-A18B-BB948BD9EC5E}"/>
          </ac:spMkLst>
        </pc:spChg>
        <pc:picChg chg="add del mod modCrop">
          <ac:chgData name="LAISSAOUI, Ghita" userId="ac8a0427-4948-4bf4-bb5c-4b9a41a9bd01" providerId="ADAL" clId="{8C4A23C6-A272-4AE5-87F4-94EB44631B18}" dt="2022-02-01T16:10:09.082" v="9796" actId="21"/>
          <ac:picMkLst>
            <pc:docMk/>
            <pc:sldMk cId="1649805037" sldId="2147229397"/>
            <ac:picMk id="3" creationId="{49AB9ABE-E2D5-4F16-A97C-6C22B46D5EC5}"/>
          </ac:picMkLst>
        </pc:picChg>
        <pc:picChg chg="add del mod modCrop">
          <ac:chgData name="LAISSAOUI, Ghita" userId="ac8a0427-4948-4bf4-bb5c-4b9a41a9bd01" providerId="ADAL" clId="{8C4A23C6-A272-4AE5-87F4-94EB44631B18}" dt="2022-01-27T13:42:24.902" v="4830" actId="478"/>
          <ac:picMkLst>
            <pc:docMk/>
            <pc:sldMk cId="1649805037" sldId="2147229397"/>
            <ac:picMk id="5" creationId="{866A6DA3-9FB1-42F6-872A-EECF7E45E594}"/>
          </ac:picMkLst>
        </pc:picChg>
        <pc:picChg chg="add mod">
          <ac:chgData name="LAISSAOUI, Ghita" userId="ac8a0427-4948-4bf4-bb5c-4b9a41a9bd01" providerId="ADAL" clId="{8C4A23C6-A272-4AE5-87F4-94EB44631B18}" dt="2022-01-28T15:29:01.467" v="6731" actId="1076"/>
          <ac:picMkLst>
            <pc:docMk/>
            <pc:sldMk cId="1649805037" sldId="2147229397"/>
            <ac:picMk id="11" creationId="{8F98E427-6631-407D-85FF-99080D28C5C4}"/>
          </ac:picMkLst>
        </pc:picChg>
        <pc:picChg chg="add del mod">
          <ac:chgData name="LAISSAOUI, Ghita" userId="ac8a0427-4948-4bf4-bb5c-4b9a41a9bd01" providerId="ADAL" clId="{8C4A23C6-A272-4AE5-87F4-94EB44631B18}" dt="2022-02-01T16:09:52.741" v="9791" actId="478"/>
          <ac:picMkLst>
            <pc:docMk/>
            <pc:sldMk cId="1649805037" sldId="2147229397"/>
            <ac:picMk id="14" creationId="{59FBD336-6201-4FD3-A085-2E3DDC3DA4AB}"/>
          </ac:picMkLst>
        </pc:picChg>
        <pc:picChg chg="add del mod">
          <ac:chgData name="LAISSAOUI, Ghita" userId="ac8a0427-4948-4bf4-bb5c-4b9a41a9bd01" providerId="ADAL" clId="{8C4A23C6-A272-4AE5-87F4-94EB44631B18}" dt="2022-02-01T16:10:03.192" v="9795" actId="21"/>
          <ac:picMkLst>
            <pc:docMk/>
            <pc:sldMk cId="1649805037" sldId="2147229397"/>
            <ac:picMk id="16" creationId="{036131BF-0959-403B-A954-395AE1A80A32}"/>
          </ac:picMkLst>
        </pc:picChg>
        <pc:picChg chg="add mod">
          <ac:chgData name="LAISSAOUI, Ghita" userId="ac8a0427-4948-4bf4-bb5c-4b9a41a9bd01" providerId="ADAL" clId="{8C4A23C6-A272-4AE5-87F4-94EB44631B18}" dt="2022-02-01T16:10:18.440" v="9819" actId="1035"/>
          <ac:picMkLst>
            <pc:docMk/>
            <pc:sldMk cId="1649805037" sldId="2147229397"/>
            <ac:picMk id="18" creationId="{82BCABE6-429D-445F-9A80-537CDA6E3B66}"/>
          </ac:picMkLst>
        </pc:picChg>
        <pc:picChg chg="add del mod">
          <ac:chgData name="LAISSAOUI, Ghita" userId="ac8a0427-4948-4bf4-bb5c-4b9a41a9bd01" providerId="ADAL" clId="{8C4A23C6-A272-4AE5-87F4-94EB44631B18}" dt="2022-01-25T14:18:07.389" v="2896" actId="478"/>
          <ac:picMkLst>
            <pc:docMk/>
            <pc:sldMk cId="1649805037" sldId="2147229397"/>
            <ac:picMk id="15362" creationId="{5886B9F2-BA5C-4FD5-96D0-9FBBC841D604}"/>
          </ac:picMkLst>
        </pc:picChg>
      </pc:sldChg>
      <pc:sldChg chg="addSp delSp modSp add mod modNotesTx">
        <pc:chgData name="LAISSAOUI, Ghita" userId="ac8a0427-4948-4bf4-bb5c-4b9a41a9bd01" providerId="ADAL" clId="{8C4A23C6-A272-4AE5-87F4-94EB44631B18}" dt="2022-02-01T16:09:25.764" v="9775" actId="478"/>
        <pc:sldMkLst>
          <pc:docMk/>
          <pc:sldMk cId="1375175804" sldId="2147229398"/>
        </pc:sldMkLst>
        <pc:spChg chg="mod">
          <ac:chgData name="LAISSAOUI, Ghita" userId="ac8a0427-4948-4bf4-bb5c-4b9a41a9bd01" providerId="ADAL" clId="{8C4A23C6-A272-4AE5-87F4-94EB44631B18}" dt="2022-01-27T13:56:02.384" v="4935" actId="20577"/>
          <ac:spMkLst>
            <pc:docMk/>
            <pc:sldMk cId="1375175804" sldId="2147229398"/>
            <ac:spMk id="4" creationId="{60721E7C-E093-4871-A2D2-871A7D50A6D5}"/>
          </ac:spMkLst>
        </pc:spChg>
        <pc:spChg chg="add del">
          <ac:chgData name="LAISSAOUI, Ghita" userId="ac8a0427-4948-4bf4-bb5c-4b9a41a9bd01" providerId="ADAL" clId="{8C4A23C6-A272-4AE5-87F4-94EB44631B18}" dt="2022-01-27T14:02:03.659" v="5154" actId="478"/>
          <ac:spMkLst>
            <pc:docMk/>
            <pc:sldMk cId="1375175804" sldId="2147229398"/>
            <ac:spMk id="32" creationId="{506FBA09-5E0E-4AD0-B06F-1F6048AB2A34}"/>
          </ac:spMkLst>
        </pc:spChg>
        <pc:spChg chg="add mod">
          <ac:chgData name="LAISSAOUI, Ghita" userId="ac8a0427-4948-4bf4-bb5c-4b9a41a9bd01" providerId="ADAL" clId="{8C4A23C6-A272-4AE5-87F4-94EB44631B18}" dt="2022-01-27T13:55:57.128" v="4929"/>
          <ac:spMkLst>
            <pc:docMk/>
            <pc:sldMk cId="1375175804" sldId="2147229398"/>
            <ac:spMk id="34" creationId="{D32A70E1-CEA3-456E-9DA2-65D58B6A4297}"/>
          </ac:spMkLst>
        </pc:spChg>
        <pc:spChg chg="add mod ord">
          <ac:chgData name="LAISSAOUI, Ghita" userId="ac8a0427-4948-4bf4-bb5c-4b9a41a9bd01" providerId="ADAL" clId="{8C4A23C6-A272-4AE5-87F4-94EB44631B18}" dt="2022-02-01T16:09:19.344" v="9774" actId="167"/>
          <ac:spMkLst>
            <pc:docMk/>
            <pc:sldMk cId="1375175804" sldId="2147229398"/>
            <ac:spMk id="35" creationId="{0A31AEFD-76CF-427F-A705-7527C463BC1F}"/>
          </ac:spMkLst>
        </pc:spChg>
        <pc:spChg chg="add del mod">
          <ac:chgData name="LAISSAOUI, Ghita" userId="ac8a0427-4948-4bf4-bb5c-4b9a41a9bd01" providerId="ADAL" clId="{8C4A23C6-A272-4AE5-87F4-94EB44631B18}" dt="2022-01-27T14:02:21.836" v="5158" actId="478"/>
          <ac:spMkLst>
            <pc:docMk/>
            <pc:sldMk cId="1375175804" sldId="2147229398"/>
            <ac:spMk id="35" creationId="{AAF72E30-9766-4C81-9FCC-580AA94727EE}"/>
          </ac:spMkLst>
        </pc:spChg>
        <pc:spChg chg="add del mod">
          <ac:chgData name="LAISSAOUI, Ghita" userId="ac8a0427-4948-4bf4-bb5c-4b9a41a9bd01" providerId="ADAL" clId="{8C4A23C6-A272-4AE5-87F4-94EB44631B18}" dt="2022-02-01T16:09:25.764" v="9775" actId="478"/>
          <ac:spMkLst>
            <pc:docMk/>
            <pc:sldMk cId="1375175804" sldId="2147229398"/>
            <ac:spMk id="36" creationId="{85CA0E38-BA99-40DF-AED2-9674820CE8DE}"/>
          </ac:spMkLst>
        </pc:spChg>
        <pc:spChg chg="mod">
          <ac:chgData name="LAISSAOUI, Ghita" userId="ac8a0427-4948-4bf4-bb5c-4b9a41a9bd01" providerId="ADAL" clId="{8C4A23C6-A272-4AE5-87F4-94EB44631B18}" dt="2022-01-31T15:06:00.196" v="9092" actId="20577"/>
          <ac:spMkLst>
            <pc:docMk/>
            <pc:sldMk cId="1375175804" sldId="2147229398"/>
            <ac:spMk id="81" creationId="{784677B9-170F-4AEB-8B5F-29A9602EA74E}"/>
          </ac:spMkLst>
        </pc:spChg>
        <pc:spChg chg="mod">
          <ac:chgData name="LAISSAOUI, Ghita" userId="ac8a0427-4948-4bf4-bb5c-4b9a41a9bd01" providerId="ADAL" clId="{8C4A23C6-A272-4AE5-87F4-94EB44631B18}" dt="2022-01-31T07:32:10.247" v="8495" actId="403"/>
          <ac:spMkLst>
            <pc:docMk/>
            <pc:sldMk cId="1375175804" sldId="2147229398"/>
            <ac:spMk id="86" creationId="{B002F6C0-43A0-4A1F-99CE-37CF4B91F291}"/>
          </ac:spMkLst>
        </pc:spChg>
        <pc:spChg chg="mod">
          <ac:chgData name="LAISSAOUI, Ghita" userId="ac8a0427-4948-4bf4-bb5c-4b9a41a9bd01" providerId="ADAL" clId="{8C4A23C6-A272-4AE5-87F4-94EB44631B18}" dt="2022-01-31T07:29:51.014" v="8488" actId="255"/>
          <ac:spMkLst>
            <pc:docMk/>
            <pc:sldMk cId="1375175804" sldId="2147229398"/>
            <ac:spMk id="91" creationId="{12FD1BC2-EC84-45D6-8B77-4F8CB08C6AB9}"/>
          </ac:spMkLst>
        </pc:spChg>
        <pc:grpChg chg="mod">
          <ac:chgData name="LAISSAOUI, Ghita" userId="ac8a0427-4948-4bf4-bb5c-4b9a41a9bd01" providerId="ADAL" clId="{8C4A23C6-A272-4AE5-87F4-94EB44631B18}" dt="2022-01-27T14:03:04.739" v="5165" actId="1076"/>
          <ac:grpSpMkLst>
            <pc:docMk/>
            <pc:sldMk cId="1375175804" sldId="2147229398"/>
            <ac:grpSpMk id="2" creationId="{01D9FA65-633F-432D-B54E-E7E571F36939}"/>
          </ac:grpSpMkLst>
        </pc:grpChg>
        <pc:picChg chg="mod">
          <ac:chgData name="LAISSAOUI, Ghita" userId="ac8a0427-4948-4bf4-bb5c-4b9a41a9bd01" providerId="ADAL" clId="{8C4A23C6-A272-4AE5-87F4-94EB44631B18}" dt="2022-01-27T15:29:36.634" v="5733" actId="1076"/>
          <ac:picMkLst>
            <pc:docMk/>
            <pc:sldMk cId="1375175804" sldId="2147229398"/>
            <ac:picMk id="33" creationId="{EC667DA2-797A-4E54-A200-9D8E6DD27C0F}"/>
          </ac:picMkLst>
        </pc:picChg>
      </pc:sldChg>
      <pc:sldChg chg="addSp delSp modSp add del mod modNotesTx">
        <pc:chgData name="LAISSAOUI, Ghita" userId="ac8a0427-4948-4bf4-bb5c-4b9a41a9bd01" providerId="ADAL" clId="{8C4A23C6-A272-4AE5-87F4-94EB44631B18}" dt="2022-01-25T13:34:57.639" v="2155" actId="47"/>
        <pc:sldMkLst>
          <pc:docMk/>
          <pc:sldMk cId="1516719901" sldId="2147229398"/>
        </pc:sldMkLst>
        <pc:spChg chg="add del mod">
          <ac:chgData name="LAISSAOUI, Ghita" userId="ac8a0427-4948-4bf4-bb5c-4b9a41a9bd01" providerId="ADAL" clId="{8C4A23C6-A272-4AE5-87F4-94EB44631B18}" dt="2022-01-25T13:23:52.846" v="1965" actId="478"/>
          <ac:spMkLst>
            <pc:docMk/>
            <pc:sldMk cId="1516719901" sldId="2147229398"/>
            <ac:spMk id="5" creationId="{9493F6AC-5D80-4FE6-B7CD-A18D05BDD16C}"/>
          </ac:spMkLst>
        </pc:spChg>
        <pc:spChg chg="del mod">
          <ac:chgData name="LAISSAOUI, Ghita" userId="ac8a0427-4948-4bf4-bb5c-4b9a41a9bd01" providerId="ADAL" clId="{8C4A23C6-A272-4AE5-87F4-94EB44631B18}" dt="2022-01-25T13:23:47.199" v="1963" actId="478"/>
          <ac:spMkLst>
            <pc:docMk/>
            <pc:sldMk cId="1516719901" sldId="2147229398"/>
            <ac:spMk id="8" creationId="{B353A753-5954-47E8-9AB8-006D99704998}"/>
          </ac:spMkLst>
        </pc:spChg>
        <pc:spChg chg="add mod">
          <ac:chgData name="LAISSAOUI, Ghita" userId="ac8a0427-4948-4bf4-bb5c-4b9a41a9bd01" providerId="ADAL" clId="{8C4A23C6-A272-4AE5-87F4-94EB44631B18}" dt="2022-01-25T13:23:47.493" v="1964"/>
          <ac:spMkLst>
            <pc:docMk/>
            <pc:sldMk cId="1516719901" sldId="2147229398"/>
            <ac:spMk id="9" creationId="{FBAA870A-BC32-41A3-9197-378C11522194}"/>
          </ac:spMkLst>
        </pc:spChg>
        <pc:picChg chg="add">
          <ac:chgData name="LAISSAOUI, Ghita" userId="ac8a0427-4948-4bf4-bb5c-4b9a41a9bd01" providerId="ADAL" clId="{8C4A23C6-A272-4AE5-87F4-94EB44631B18}" dt="2022-01-25T10:41:01.779" v="1594" actId="22"/>
          <ac:picMkLst>
            <pc:docMk/>
            <pc:sldMk cId="1516719901" sldId="2147229398"/>
            <ac:picMk id="3" creationId="{44D1C33A-EBD3-4EF1-B1A2-72553E07F15B}"/>
          </ac:picMkLst>
        </pc:picChg>
      </pc:sldChg>
      <pc:sldChg chg="modSp add del mod">
        <pc:chgData name="LAISSAOUI, Ghita" userId="ac8a0427-4948-4bf4-bb5c-4b9a41a9bd01" providerId="ADAL" clId="{8C4A23C6-A272-4AE5-87F4-94EB44631B18}" dt="2022-01-27T08:43:58.332" v="3992" actId="47"/>
        <pc:sldMkLst>
          <pc:docMk/>
          <pc:sldMk cId="1728405532" sldId="2147229398"/>
        </pc:sldMkLst>
        <pc:spChg chg="mod">
          <ac:chgData name="LAISSAOUI, Ghita" userId="ac8a0427-4948-4bf4-bb5c-4b9a41a9bd01" providerId="ADAL" clId="{8C4A23C6-A272-4AE5-87F4-94EB44631B18}" dt="2022-01-27T08:42:55.801" v="3981"/>
          <ac:spMkLst>
            <pc:docMk/>
            <pc:sldMk cId="1728405532" sldId="2147229398"/>
            <ac:spMk id="3" creationId="{6F8D696E-B4E9-4F10-824F-B9B79E98BE71}"/>
          </ac:spMkLst>
        </pc:spChg>
      </pc:sldChg>
      <pc:sldChg chg="addSp modSp add del mod modNotesTx">
        <pc:chgData name="LAISSAOUI, Ghita" userId="ac8a0427-4948-4bf4-bb5c-4b9a41a9bd01" providerId="ADAL" clId="{8C4A23C6-A272-4AE5-87F4-94EB44631B18}" dt="2022-01-25T15:36:56.440" v="3778" actId="47"/>
        <pc:sldMkLst>
          <pc:docMk/>
          <pc:sldMk cId="1646204346" sldId="2147229399"/>
        </pc:sldMkLst>
        <pc:spChg chg="mod">
          <ac:chgData name="LAISSAOUI, Ghita" userId="ac8a0427-4948-4bf4-bb5c-4b9a41a9bd01" providerId="ADAL" clId="{8C4A23C6-A272-4AE5-87F4-94EB44631B18}" dt="2022-01-25T15:25:55.603" v="3524" actId="20577"/>
          <ac:spMkLst>
            <pc:docMk/>
            <pc:sldMk cId="1646204346" sldId="2147229399"/>
            <ac:spMk id="8" creationId="{B353A753-5954-47E8-9AB8-006D99704998}"/>
          </ac:spMkLst>
        </pc:spChg>
        <pc:spChg chg="mod">
          <ac:chgData name="LAISSAOUI, Ghita" userId="ac8a0427-4948-4bf4-bb5c-4b9a41a9bd01" providerId="ADAL" clId="{8C4A23C6-A272-4AE5-87F4-94EB44631B18}" dt="2022-01-25T10:58:23.665" v="1781" actId="14100"/>
          <ac:spMkLst>
            <pc:docMk/>
            <pc:sldMk cId="1646204346" sldId="2147229399"/>
            <ac:spMk id="76" creationId="{6068F212-2BCB-4CDD-9019-4A7B22252EDC}"/>
          </ac:spMkLst>
        </pc:spChg>
        <pc:picChg chg="add mod">
          <ac:chgData name="LAISSAOUI, Ghita" userId="ac8a0427-4948-4bf4-bb5c-4b9a41a9bd01" providerId="ADAL" clId="{8C4A23C6-A272-4AE5-87F4-94EB44631B18}" dt="2022-01-25T15:14:21.178" v="3158" actId="1076"/>
          <ac:picMkLst>
            <pc:docMk/>
            <pc:sldMk cId="1646204346" sldId="2147229399"/>
            <ac:picMk id="3" creationId="{6DCC62ED-8B69-4492-8EBE-552D6B47FEE3}"/>
          </ac:picMkLst>
        </pc:picChg>
      </pc:sldChg>
      <pc:sldChg chg="modSp add del mod">
        <pc:chgData name="LAISSAOUI, Ghita" userId="ac8a0427-4948-4bf4-bb5c-4b9a41a9bd01" providerId="ADAL" clId="{8C4A23C6-A272-4AE5-87F4-94EB44631B18}" dt="2022-01-27T15:05:18.315" v="5349" actId="47"/>
        <pc:sldMkLst>
          <pc:docMk/>
          <pc:sldMk cId="2047199598" sldId="2147229399"/>
        </pc:sldMkLst>
        <pc:spChg chg="mod">
          <ac:chgData name="LAISSAOUI, Ghita" userId="ac8a0427-4948-4bf4-bb5c-4b9a41a9bd01" providerId="ADAL" clId="{8C4A23C6-A272-4AE5-87F4-94EB44631B18}" dt="2022-01-27T14:50:35.021" v="5192" actId="20577"/>
          <ac:spMkLst>
            <pc:docMk/>
            <pc:sldMk cId="2047199598" sldId="2147229399"/>
            <ac:spMk id="3" creationId="{E1F9D801-434D-4FD6-A38C-A6C187DD7E2B}"/>
          </ac:spMkLst>
        </pc:spChg>
        <pc:spChg chg="mod">
          <ac:chgData name="LAISSAOUI, Ghita" userId="ac8a0427-4948-4bf4-bb5c-4b9a41a9bd01" providerId="ADAL" clId="{8C4A23C6-A272-4AE5-87F4-94EB44631B18}" dt="2022-01-27T14:50:47.771" v="5195"/>
          <ac:spMkLst>
            <pc:docMk/>
            <pc:sldMk cId="2047199598" sldId="2147229399"/>
            <ac:spMk id="4" creationId="{15E659B3-EA4B-405E-9FAE-00661F32418F}"/>
          </ac:spMkLst>
        </pc:spChg>
      </pc:sldChg>
      <pc:sldChg chg="addSp modSp add del">
        <pc:chgData name="LAISSAOUI, Ghita" userId="ac8a0427-4948-4bf4-bb5c-4b9a41a9bd01" providerId="ADAL" clId="{8C4A23C6-A272-4AE5-87F4-94EB44631B18}" dt="2022-02-01T14:22:33.688" v="9620" actId="47"/>
        <pc:sldMkLst>
          <pc:docMk/>
          <pc:sldMk cId="2645030073" sldId="2147229399"/>
        </pc:sldMkLst>
        <pc:spChg chg="add mod">
          <ac:chgData name="LAISSAOUI, Ghita" userId="ac8a0427-4948-4bf4-bb5c-4b9a41a9bd01" providerId="ADAL" clId="{8C4A23C6-A272-4AE5-87F4-94EB44631B18}" dt="2022-01-31T09:23:47.595" v="8986"/>
          <ac:spMkLst>
            <pc:docMk/>
            <pc:sldMk cId="2645030073" sldId="2147229399"/>
            <ac:spMk id="5" creationId="{0A4437F7-75D6-40C0-9D5C-98E270C75041}"/>
          </ac:spMkLst>
        </pc:spChg>
      </pc:sldChg>
      <pc:sldChg chg="addSp delSp modSp add del mod modNotesTx">
        <pc:chgData name="LAISSAOUI, Ghita" userId="ac8a0427-4948-4bf4-bb5c-4b9a41a9bd01" providerId="ADAL" clId="{8C4A23C6-A272-4AE5-87F4-94EB44631B18}" dt="2022-01-25T15:17:49.261" v="3288" actId="47"/>
        <pc:sldMkLst>
          <pc:docMk/>
          <pc:sldMk cId="489577275" sldId="2147229400"/>
        </pc:sldMkLst>
        <pc:spChg chg="add del mod">
          <ac:chgData name="LAISSAOUI, Ghita" userId="ac8a0427-4948-4bf4-bb5c-4b9a41a9bd01" providerId="ADAL" clId="{8C4A23C6-A272-4AE5-87F4-94EB44631B18}" dt="2022-01-25T10:58:40.688" v="1783"/>
          <ac:spMkLst>
            <pc:docMk/>
            <pc:sldMk cId="489577275" sldId="2147229400"/>
            <ac:spMk id="4" creationId="{709775FD-9B6B-47BD-818E-B10E3AFEC283}"/>
          </ac:spMkLst>
        </pc:spChg>
        <pc:spChg chg="add mod">
          <ac:chgData name="LAISSAOUI, Ghita" userId="ac8a0427-4948-4bf4-bb5c-4b9a41a9bd01" providerId="ADAL" clId="{8C4A23C6-A272-4AE5-87F4-94EB44631B18}" dt="2022-01-25T10:58:43.069" v="1785"/>
          <ac:spMkLst>
            <pc:docMk/>
            <pc:sldMk cId="489577275" sldId="2147229400"/>
            <ac:spMk id="5" creationId="{40B984D7-3CDD-4782-A9A8-490125F43B8E}"/>
          </ac:spMkLst>
        </pc:spChg>
        <pc:spChg chg="mod">
          <ac:chgData name="LAISSAOUI, Ghita" userId="ac8a0427-4948-4bf4-bb5c-4b9a41a9bd01" providerId="ADAL" clId="{8C4A23C6-A272-4AE5-87F4-94EB44631B18}" dt="2022-01-25T10:13:28.337" v="1135" actId="20577"/>
          <ac:spMkLst>
            <pc:docMk/>
            <pc:sldMk cId="489577275" sldId="2147229400"/>
            <ac:spMk id="8" creationId="{B353A753-5954-47E8-9AB8-006D99704998}"/>
          </ac:spMkLst>
        </pc:spChg>
        <pc:spChg chg="del mod">
          <ac:chgData name="LAISSAOUI, Ghita" userId="ac8a0427-4948-4bf4-bb5c-4b9a41a9bd01" providerId="ADAL" clId="{8C4A23C6-A272-4AE5-87F4-94EB44631B18}" dt="2022-01-25T10:58:42.647" v="1784" actId="478"/>
          <ac:spMkLst>
            <pc:docMk/>
            <pc:sldMk cId="489577275" sldId="2147229400"/>
            <ac:spMk id="76" creationId="{6068F212-2BCB-4CDD-9019-4A7B22252EDC}"/>
          </ac:spMkLst>
        </pc:spChg>
      </pc:sldChg>
      <pc:sldChg chg="addSp modSp add del">
        <pc:chgData name="LAISSAOUI, Ghita" userId="ac8a0427-4948-4bf4-bb5c-4b9a41a9bd01" providerId="ADAL" clId="{8C4A23C6-A272-4AE5-87F4-94EB44631B18}" dt="2022-02-01T14:22:33.688" v="9620" actId="47"/>
        <pc:sldMkLst>
          <pc:docMk/>
          <pc:sldMk cId="3494133702" sldId="2147229400"/>
        </pc:sldMkLst>
        <pc:spChg chg="add mod">
          <ac:chgData name="LAISSAOUI, Ghita" userId="ac8a0427-4948-4bf4-bb5c-4b9a41a9bd01" providerId="ADAL" clId="{8C4A23C6-A272-4AE5-87F4-94EB44631B18}" dt="2022-01-31T09:23:43.008" v="8985"/>
          <ac:spMkLst>
            <pc:docMk/>
            <pc:sldMk cId="3494133702" sldId="2147229400"/>
            <ac:spMk id="6" creationId="{02BA706D-8D62-43D9-BF06-757485C423AC}"/>
          </ac:spMkLst>
        </pc:spChg>
      </pc:sldChg>
      <pc:sldChg chg="modSp add del mod">
        <pc:chgData name="LAISSAOUI, Ghita" userId="ac8a0427-4948-4bf4-bb5c-4b9a41a9bd01" providerId="ADAL" clId="{8C4A23C6-A272-4AE5-87F4-94EB44631B18}" dt="2022-01-27T15:06:57.633" v="5366" actId="47"/>
        <pc:sldMkLst>
          <pc:docMk/>
          <pc:sldMk cId="3811774034" sldId="2147229400"/>
        </pc:sldMkLst>
        <pc:spChg chg="mod">
          <ac:chgData name="LAISSAOUI, Ghita" userId="ac8a0427-4948-4bf4-bb5c-4b9a41a9bd01" providerId="ADAL" clId="{8C4A23C6-A272-4AE5-87F4-94EB44631B18}" dt="2022-01-27T14:51:02.538" v="5198" actId="20577"/>
          <ac:spMkLst>
            <pc:docMk/>
            <pc:sldMk cId="3811774034" sldId="2147229400"/>
            <ac:spMk id="3" creationId="{E1F9D801-434D-4FD6-A38C-A6C187DD7E2B}"/>
          </ac:spMkLst>
        </pc:spChg>
        <pc:spChg chg="mod">
          <ac:chgData name="LAISSAOUI, Ghita" userId="ac8a0427-4948-4bf4-bb5c-4b9a41a9bd01" providerId="ADAL" clId="{8C4A23C6-A272-4AE5-87F4-94EB44631B18}" dt="2022-01-27T14:51:08.680" v="5201"/>
          <ac:spMkLst>
            <pc:docMk/>
            <pc:sldMk cId="3811774034" sldId="2147229400"/>
            <ac:spMk id="4" creationId="{15E659B3-EA4B-405E-9FAE-00661F32418F}"/>
          </ac:spMkLst>
        </pc:spChg>
      </pc:sldChg>
      <pc:sldChg chg="addSp modSp add del">
        <pc:chgData name="LAISSAOUI, Ghita" userId="ac8a0427-4948-4bf4-bb5c-4b9a41a9bd01" providerId="ADAL" clId="{8C4A23C6-A272-4AE5-87F4-94EB44631B18}" dt="2022-02-01T14:22:33.688" v="9620" actId="47"/>
        <pc:sldMkLst>
          <pc:docMk/>
          <pc:sldMk cId="2162269139" sldId="2147229401"/>
        </pc:sldMkLst>
        <pc:spChg chg="add mod">
          <ac:chgData name="LAISSAOUI, Ghita" userId="ac8a0427-4948-4bf4-bb5c-4b9a41a9bd01" providerId="ADAL" clId="{8C4A23C6-A272-4AE5-87F4-94EB44631B18}" dt="2022-01-31T09:23:50.024" v="8987"/>
          <ac:spMkLst>
            <pc:docMk/>
            <pc:sldMk cId="2162269139" sldId="2147229401"/>
            <ac:spMk id="8" creationId="{9E95CB8F-95F4-4785-9AE7-5859FA06E930}"/>
          </ac:spMkLst>
        </pc:spChg>
      </pc:sldChg>
      <pc:sldChg chg="delSp modSp add del mod">
        <pc:chgData name="LAISSAOUI, Ghita" userId="ac8a0427-4948-4bf4-bb5c-4b9a41a9bd01" providerId="ADAL" clId="{8C4A23C6-A272-4AE5-87F4-94EB44631B18}" dt="2022-01-25T12:35:32.749" v="1892" actId="47"/>
        <pc:sldMkLst>
          <pc:docMk/>
          <pc:sldMk cId="3140046686" sldId="2147229401"/>
        </pc:sldMkLst>
        <pc:spChg chg="del">
          <ac:chgData name="LAISSAOUI, Ghita" userId="ac8a0427-4948-4bf4-bb5c-4b9a41a9bd01" providerId="ADAL" clId="{8C4A23C6-A272-4AE5-87F4-94EB44631B18}" dt="2022-01-25T11:23:50.222" v="1854" actId="478"/>
          <ac:spMkLst>
            <pc:docMk/>
            <pc:sldMk cId="3140046686" sldId="2147229401"/>
            <ac:spMk id="16" creationId="{1FA414B6-9A45-4E6F-AF54-BBA7375E8704}"/>
          </ac:spMkLst>
        </pc:spChg>
        <pc:spChg chg="del">
          <ac:chgData name="LAISSAOUI, Ghita" userId="ac8a0427-4948-4bf4-bb5c-4b9a41a9bd01" providerId="ADAL" clId="{8C4A23C6-A272-4AE5-87F4-94EB44631B18}" dt="2022-01-25T11:23:50.222" v="1854" actId="478"/>
          <ac:spMkLst>
            <pc:docMk/>
            <pc:sldMk cId="3140046686" sldId="2147229401"/>
            <ac:spMk id="19" creationId="{84A9D717-43A0-43BF-BDB3-1C80A0722C2F}"/>
          </ac:spMkLst>
        </pc:spChg>
        <pc:spChg chg="del">
          <ac:chgData name="LAISSAOUI, Ghita" userId="ac8a0427-4948-4bf4-bb5c-4b9a41a9bd01" providerId="ADAL" clId="{8C4A23C6-A272-4AE5-87F4-94EB44631B18}" dt="2022-01-25T11:23:50.222" v="1854" actId="478"/>
          <ac:spMkLst>
            <pc:docMk/>
            <pc:sldMk cId="3140046686" sldId="2147229401"/>
            <ac:spMk id="23" creationId="{5F6CC7C5-D3D1-410E-93E9-A641ACE14AF3}"/>
          </ac:spMkLst>
        </pc:spChg>
        <pc:spChg chg="del">
          <ac:chgData name="LAISSAOUI, Ghita" userId="ac8a0427-4948-4bf4-bb5c-4b9a41a9bd01" providerId="ADAL" clId="{8C4A23C6-A272-4AE5-87F4-94EB44631B18}" dt="2022-01-25T11:23:50.222" v="1854" actId="478"/>
          <ac:spMkLst>
            <pc:docMk/>
            <pc:sldMk cId="3140046686" sldId="2147229401"/>
            <ac:spMk id="25" creationId="{D34E66BE-08C9-45A5-A93D-B0B3042947F0}"/>
          </ac:spMkLst>
        </pc:spChg>
        <pc:spChg chg="del">
          <ac:chgData name="LAISSAOUI, Ghita" userId="ac8a0427-4948-4bf4-bb5c-4b9a41a9bd01" providerId="ADAL" clId="{8C4A23C6-A272-4AE5-87F4-94EB44631B18}" dt="2022-01-25T11:23:50.222" v="1854" actId="478"/>
          <ac:spMkLst>
            <pc:docMk/>
            <pc:sldMk cId="3140046686" sldId="2147229401"/>
            <ac:spMk id="27" creationId="{2E6982FF-4441-4D32-8234-4AD42D3FD57D}"/>
          </ac:spMkLst>
        </pc:spChg>
        <pc:spChg chg="del">
          <ac:chgData name="LAISSAOUI, Ghita" userId="ac8a0427-4948-4bf4-bb5c-4b9a41a9bd01" providerId="ADAL" clId="{8C4A23C6-A272-4AE5-87F4-94EB44631B18}" dt="2022-01-25T11:23:50.222" v="1854" actId="478"/>
          <ac:spMkLst>
            <pc:docMk/>
            <pc:sldMk cId="3140046686" sldId="2147229401"/>
            <ac:spMk id="39" creationId="{D9645345-2AA2-45C0-8578-3936942502E7}"/>
          </ac:spMkLst>
        </pc:spChg>
        <pc:spChg chg="del">
          <ac:chgData name="LAISSAOUI, Ghita" userId="ac8a0427-4948-4bf4-bb5c-4b9a41a9bd01" providerId="ADAL" clId="{8C4A23C6-A272-4AE5-87F4-94EB44631B18}" dt="2022-01-25T11:23:50.222" v="1854" actId="478"/>
          <ac:spMkLst>
            <pc:docMk/>
            <pc:sldMk cId="3140046686" sldId="2147229401"/>
            <ac:spMk id="41" creationId="{C49FC62F-9EC8-4A5F-9CC2-28252F7A2719}"/>
          </ac:spMkLst>
        </pc:spChg>
        <pc:spChg chg="del">
          <ac:chgData name="LAISSAOUI, Ghita" userId="ac8a0427-4948-4bf4-bb5c-4b9a41a9bd01" providerId="ADAL" clId="{8C4A23C6-A272-4AE5-87F4-94EB44631B18}" dt="2022-01-25T11:23:50.222" v="1854" actId="478"/>
          <ac:spMkLst>
            <pc:docMk/>
            <pc:sldMk cId="3140046686" sldId="2147229401"/>
            <ac:spMk id="46" creationId="{FECAD8E0-FCEA-44E0-9B10-893DB897C1BA}"/>
          </ac:spMkLst>
        </pc:spChg>
        <pc:picChg chg="del">
          <ac:chgData name="LAISSAOUI, Ghita" userId="ac8a0427-4948-4bf4-bb5c-4b9a41a9bd01" providerId="ADAL" clId="{8C4A23C6-A272-4AE5-87F4-94EB44631B18}" dt="2022-01-25T11:23:50.222" v="1854" actId="478"/>
          <ac:picMkLst>
            <pc:docMk/>
            <pc:sldMk cId="3140046686" sldId="2147229401"/>
            <ac:picMk id="8" creationId="{1C7E363D-AE39-40F8-AE6E-D3FC3DDB93D4}"/>
          </ac:picMkLst>
        </pc:picChg>
        <pc:picChg chg="del mod">
          <ac:chgData name="LAISSAOUI, Ghita" userId="ac8a0427-4948-4bf4-bb5c-4b9a41a9bd01" providerId="ADAL" clId="{8C4A23C6-A272-4AE5-87F4-94EB44631B18}" dt="2022-01-25T11:23:37.649" v="1853" actId="478"/>
          <ac:picMkLst>
            <pc:docMk/>
            <pc:sldMk cId="3140046686" sldId="2147229401"/>
            <ac:picMk id="10" creationId="{DB41FC4F-FA28-4CBF-9038-804D24F4963B}"/>
          </ac:picMkLst>
        </pc:picChg>
        <pc:picChg chg="del">
          <ac:chgData name="LAISSAOUI, Ghita" userId="ac8a0427-4948-4bf4-bb5c-4b9a41a9bd01" providerId="ADAL" clId="{8C4A23C6-A272-4AE5-87F4-94EB44631B18}" dt="2022-01-25T11:23:50.222" v="1854" actId="478"/>
          <ac:picMkLst>
            <pc:docMk/>
            <pc:sldMk cId="3140046686" sldId="2147229401"/>
            <ac:picMk id="33" creationId="{BEC2D2C6-3741-4EBA-9297-C6D79A8AC70E}"/>
          </ac:picMkLst>
        </pc:picChg>
        <pc:picChg chg="del">
          <ac:chgData name="LAISSAOUI, Ghita" userId="ac8a0427-4948-4bf4-bb5c-4b9a41a9bd01" providerId="ADAL" clId="{8C4A23C6-A272-4AE5-87F4-94EB44631B18}" dt="2022-01-25T11:23:50.222" v="1854" actId="478"/>
          <ac:picMkLst>
            <pc:docMk/>
            <pc:sldMk cId="3140046686" sldId="2147229401"/>
            <ac:picMk id="34" creationId="{D0F5B13D-96B1-44B0-B697-FE59B030B5FE}"/>
          </ac:picMkLst>
        </pc:picChg>
        <pc:picChg chg="del">
          <ac:chgData name="LAISSAOUI, Ghita" userId="ac8a0427-4948-4bf4-bb5c-4b9a41a9bd01" providerId="ADAL" clId="{8C4A23C6-A272-4AE5-87F4-94EB44631B18}" dt="2022-01-25T11:23:54.638" v="1855" actId="478"/>
          <ac:picMkLst>
            <pc:docMk/>
            <pc:sldMk cId="3140046686" sldId="2147229401"/>
            <ac:picMk id="1026" creationId="{ECA5CC0B-8DCB-492F-A098-B0365B98D2C7}"/>
          </ac:picMkLst>
        </pc:picChg>
        <pc:cxnChg chg="del mod">
          <ac:chgData name="LAISSAOUI, Ghita" userId="ac8a0427-4948-4bf4-bb5c-4b9a41a9bd01" providerId="ADAL" clId="{8C4A23C6-A272-4AE5-87F4-94EB44631B18}" dt="2022-01-25T11:23:50.222" v="1854" actId="478"/>
          <ac:cxnSpMkLst>
            <pc:docMk/>
            <pc:sldMk cId="3140046686" sldId="2147229401"/>
            <ac:cxnSpMk id="14" creationId="{3C47EE78-E60C-4DA5-8671-51FE7864EEA3}"/>
          </ac:cxnSpMkLst>
        </pc:cxnChg>
        <pc:cxnChg chg="del">
          <ac:chgData name="LAISSAOUI, Ghita" userId="ac8a0427-4948-4bf4-bb5c-4b9a41a9bd01" providerId="ADAL" clId="{8C4A23C6-A272-4AE5-87F4-94EB44631B18}" dt="2022-01-25T11:23:50.222" v="1854" actId="478"/>
          <ac:cxnSpMkLst>
            <pc:docMk/>
            <pc:sldMk cId="3140046686" sldId="2147229401"/>
            <ac:cxnSpMk id="17" creationId="{DD430C7B-0456-46D4-A7BE-B6935466FB2B}"/>
          </ac:cxnSpMkLst>
        </pc:cxnChg>
        <pc:cxnChg chg="del">
          <ac:chgData name="LAISSAOUI, Ghita" userId="ac8a0427-4948-4bf4-bb5c-4b9a41a9bd01" providerId="ADAL" clId="{8C4A23C6-A272-4AE5-87F4-94EB44631B18}" dt="2022-01-25T11:23:50.222" v="1854" actId="478"/>
          <ac:cxnSpMkLst>
            <pc:docMk/>
            <pc:sldMk cId="3140046686" sldId="2147229401"/>
            <ac:cxnSpMk id="20" creationId="{2FCB25AF-A283-4461-870B-A1ACF302D0A9}"/>
          </ac:cxnSpMkLst>
        </pc:cxnChg>
        <pc:cxnChg chg="del">
          <ac:chgData name="LAISSAOUI, Ghita" userId="ac8a0427-4948-4bf4-bb5c-4b9a41a9bd01" providerId="ADAL" clId="{8C4A23C6-A272-4AE5-87F4-94EB44631B18}" dt="2022-01-25T11:23:50.222" v="1854" actId="478"/>
          <ac:cxnSpMkLst>
            <pc:docMk/>
            <pc:sldMk cId="3140046686" sldId="2147229401"/>
            <ac:cxnSpMk id="24" creationId="{6BF7C912-E2B6-4B23-891F-92954B34EF30}"/>
          </ac:cxnSpMkLst>
        </pc:cxnChg>
        <pc:cxnChg chg="del">
          <ac:chgData name="LAISSAOUI, Ghita" userId="ac8a0427-4948-4bf4-bb5c-4b9a41a9bd01" providerId="ADAL" clId="{8C4A23C6-A272-4AE5-87F4-94EB44631B18}" dt="2022-01-25T11:23:50.222" v="1854" actId="478"/>
          <ac:cxnSpMkLst>
            <pc:docMk/>
            <pc:sldMk cId="3140046686" sldId="2147229401"/>
            <ac:cxnSpMk id="26" creationId="{CB760371-CE28-4847-821C-A9D13614C708}"/>
          </ac:cxnSpMkLst>
        </pc:cxnChg>
        <pc:cxnChg chg="del">
          <ac:chgData name="LAISSAOUI, Ghita" userId="ac8a0427-4948-4bf4-bb5c-4b9a41a9bd01" providerId="ADAL" clId="{8C4A23C6-A272-4AE5-87F4-94EB44631B18}" dt="2022-01-25T11:23:50.222" v="1854" actId="478"/>
          <ac:cxnSpMkLst>
            <pc:docMk/>
            <pc:sldMk cId="3140046686" sldId="2147229401"/>
            <ac:cxnSpMk id="32" creationId="{72C4100A-23BE-4F81-A286-DDCA9A4BEEED}"/>
          </ac:cxnSpMkLst>
        </pc:cxnChg>
        <pc:cxnChg chg="del">
          <ac:chgData name="LAISSAOUI, Ghita" userId="ac8a0427-4948-4bf4-bb5c-4b9a41a9bd01" providerId="ADAL" clId="{8C4A23C6-A272-4AE5-87F4-94EB44631B18}" dt="2022-01-25T11:23:50.222" v="1854" actId="478"/>
          <ac:cxnSpMkLst>
            <pc:docMk/>
            <pc:sldMk cId="3140046686" sldId="2147229401"/>
            <ac:cxnSpMk id="36" creationId="{1A120D33-4FF2-4201-9296-E89A0FA2432C}"/>
          </ac:cxnSpMkLst>
        </pc:cxnChg>
        <pc:cxnChg chg="del mod">
          <ac:chgData name="LAISSAOUI, Ghita" userId="ac8a0427-4948-4bf4-bb5c-4b9a41a9bd01" providerId="ADAL" clId="{8C4A23C6-A272-4AE5-87F4-94EB44631B18}" dt="2022-01-25T11:23:50.222" v="1854" actId="478"/>
          <ac:cxnSpMkLst>
            <pc:docMk/>
            <pc:sldMk cId="3140046686" sldId="2147229401"/>
            <ac:cxnSpMk id="40" creationId="{4A3D1CE9-CF05-41AA-9F59-C0DE0402E40F}"/>
          </ac:cxnSpMkLst>
        </pc:cxnChg>
        <pc:cxnChg chg="del mod">
          <ac:chgData name="LAISSAOUI, Ghita" userId="ac8a0427-4948-4bf4-bb5c-4b9a41a9bd01" providerId="ADAL" clId="{8C4A23C6-A272-4AE5-87F4-94EB44631B18}" dt="2022-01-25T11:23:50.222" v="1854" actId="478"/>
          <ac:cxnSpMkLst>
            <pc:docMk/>
            <pc:sldMk cId="3140046686" sldId="2147229401"/>
            <ac:cxnSpMk id="43" creationId="{DCFD7E0E-F028-460F-85F7-48A40239FAFC}"/>
          </ac:cxnSpMkLst>
        </pc:cxnChg>
      </pc:sldChg>
      <pc:sldChg chg="modSp add del mod">
        <pc:chgData name="LAISSAOUI, Ghita" userId="ac8a0427-4948-4bf4-bb5c-4b9a41a9bd01" providerId="ADAL" clId="{8C4A23C6-A272-4AE5-87F4-94EB44631B18}" dt="2022-01-27T15:07:36.102" v="5375" actId="47"/>
        <pc:sldMkLst>
          <pc:docMk/>
          <pc:sldMk cId="3430852055" sldId="2147229401"/>
        </pc:sldMkLst>
        <pc:spChg chg="mod">
          <ac:chgData name="LAISSAOUI, Ghita" userId="ac8a0427-4948-4bf4-bb5c-4b9a41a9bd01" providerId="ADAL" clId="{8C4A23C6-A272-4AE5-87F4-94EB44631B18}" dt="2022-01-27T14:51:38.789" v="5207" actId="20577"/>
          <ac:spMkLst>
            <pc:docMk/>
            <pc:sldMk cId="3430852055" sldId="2147229401"/>
            <ac:spMk id="3" creationId="{E1F9D801-434D-4FD6-A38C-A6C187DD7E2B}"/>
          </ac:spMkLst>
        </pc:spChg>
        <pc:spChg chg="mod">
          <ac:chgData name="LAISSAOUI, Ghita" userId="ac8a0427-4948-4bf4-bb5c-4b9a41a9bd01" providerId="ADAL" clId="{8C4A23C6-A272-4AE5-87F4-94EB44631B18}" dt="2022-01-27T14:51:46.828" v="5214" actId="20577"/>
          <ac:spMkLst>
            <pc:docMk/>
            <pc:sldMk cId="3430852055" sldId="2147229401"/>
            <ac:spMk id="4" creationId="{15E659B3-EA4B-405E-9FAE-00661F32418F}"/>
          </ac:spMkLst>
        </pc:spChg>
      </pc:sldChg>
      <pc:sldChg chg="modSp add del mod modNotesTx">
        <pc:chgData name="LAISSAOUI, Ghita" userId="ac8a0427-4948-4bf4-bb5c-4b9a41a9bd01" providerId="ADAL" clId="{8C4A23C6-A272-4AE5-87F4-94EB44631B18}" dt="2022-01-25T10:57:30.530" v="1776" actId="47"/>
        <pc:sldMkLst>
          <pc:docMk/>
          <pc:sldMk cId="3676512461" sldId="2147229401"/>
        </pc:sldMkLst>
        <pc:spChg chg="mod">
          <ac:chgData name="LAISSAOUI, Ghita" userId="ac8a0427-4948-4bf4-bb5c-4b9a41a9bd01" providerId="ADAL" clId="{8C4A23C6-A272-4AE5-87F4-94EB44631B18}" dt="2022-01-25T10:51:12.661" v="1699" actId="20577"/>
          <ac:spMkLst>
            <pc:docMk/>
            <pc:sldMk cId="3676512461" sldId="2147229401"/>
            <ac:spMk id="8" creationId="{B353A753-5954-47E8-9AB8-006D99704998}"/>
          </ac:spMkLst>
        </pc:spChg>
        <pc:spChg chg="mod">
          <ac:chgData name="LAISSAOUI, Ghita" userId="ac8a0427-4948-4bf4-bb5c-4b9a41a9bd01" providerId="ADAL" clId="{8C4A23C6-A272-4AE5-87F4-94EB44631B18}" dt="2022-01-25T10:57:20.475" v="1773" actId="1076"/>
          <ac:spMkLst>
            <pc:docMk/>
            <pc:sldMk cId="3676512461" sldId="2147229401"/>
            <ac:spMk id="76" creationId="{6068F212-2BCB-4CDD-9019-4A7B22252EDC}"/>
          </ac:spMkLst>
        </pc:spChg>
      </pc:sldChg>
      <pc:sldChg chg="addSp modSp add del">
        <pc:chgData name="LAISSAOUI, Ghita" userId="ac8a0427-4948-4bf4-bb5c-4b9a41a9bd01" providerId="ADAL" clId="{8C4A23C6-A272-4AE5-87F4-94EB44631B18}" dt="2022-02-01T14:22:29.752" v="9619" actId="47"/>
        <pc:sldMkLst>
          <pc:docMk/>
          <pc:sldMk cId="2464822695" sldId="2147229402"/>
        </pc:sldMkLst>
        <pc:spChg chg="add mod">
          <ac:chgData name="LAISSAOUI, Ghita" userId="ac8a0427-4948-4bf4-bb5c-4b9a41a9bd01" providerId="ADAL" clId="{8C4A23C6-A272-4AE5-87F4-94EB44631B18}" dt="2022-01-31T09:23:51.981" v="8988"/>
          <ac:spMkLst>
            <pc:docMk/>
            <pc:sldMk cId="2464822695" sldId="2147229402"/>
            <ac:spMk id="7" creationId="{9DBFDFFF-DCAF-4616-9628-7EB99D4439AC}"/>
          </ac:spMkLst>
        </pc:spChg>
      </pc:sldChg>
      <pc:sldChg chg="modSp add del mod">
        <pc:chgData name="LAISSAOUI, Ghita" userId="ac8a0427-4948-4bf4-bb5c-4b9a41a9bd01" providerId="ADAL" clId="{8C4A23C6-A272-4AE5-87F4-94EB44631B18}" dt="2022-01-27T15:07:49.322" v="5378" actId="47"/>
        <pc:sldMkLst>
          <pc:docMk/>
          <pc:sldMk cId="4005240471" sldId="2147229402"/>
        </pc:sldMkLst>
        <pc:spChg chg="mod">
          <ac:chgData name="LAISSAOUI, Ghita" userId="ac8a0427-4948-4bf4-bb5c-4b9a41a9bd01" providerId="ADAL" clId="{8C4A23C6-A272-4AE5-87F4-94EB44631B18}" dt="2022-01-27T14:51:52.659" v="5216" actId="20577"/>
          <ac:spMkLst>
            <pc:docMk/>
            <pc:sldMk cId="4005240471" sldId="2147229402"/>
            <ac:spMk id="3" creationId="{E1F9D801-434D-4FD6-A38C-A6C187DD7E2B}"/>
          </ac:spMkLst>
        </pc:spChg>
        <pc:spChg chg="mod">
          <ac:chgData name="LAISSAOUI, Ghita" userId="ac8a0427-4948-4bf4-bb5c-4b9a41a9bd01" providerId="ADAL" clId="{8C4A23C6-A272-4AE5-87F4-94EB44631B18}" dt="2022-01-27T14:52:01" v="5251" actId="20577"/>
          <ac:spMkLst>
            <pc:docMk/>
            <pc:sldMk cId="4005240471" sldId="2147229402"/>
            <ac:spMk id="4" creationId="{15E659B3-EA4B-405E-9FAE-00661F32418F}"/>
          </ac:spMkLst>
        </pc:spChg>
      </pc:sldChg>
      <pc:sldChg chg="addSp delSp modSp add del mod ord">
        <pc:chgData name="LAISSAOUI, Ghita" userId="ac8a0427-4948-4bf4-bb5c-4b9a41a9bd01" providerId="ADAL" clId="{8C4A23C6-A272-4AE5-87F4-94EB44631B18}" dt="2022-01-31T06:50:47.394" v="7741" actId="47"/>
        <pc:sldMkLst>
          <pc:docMk/>
          <pc:sldMk cId="176630824" sldId="2147229403"/>
        </pc:sldMkLst>
        <pc:spChg chg="del">
          <ac:chgData name="LAISSAOUI, Ghita" userId="ac8a0427-4948-4bf4-bb5c-4b9a41a9bd01" providerId="ADAL" clId="{8C4A23C6-A272-4AE5-87F4-94EB44631B18}" dt="2022-01-27T15:04:46.713" v="5342" actId="478"/>
          <ac:spMkLst>
            <pc:docMk/>
            <pc:sldMk cId="176630824" sldId="2147229403"/>
            <ac:spMk id="3" creationId="{E1F9D801-434D-4FD6-A38C-A6C187DD7E2B}"/>
          </ac:spMkLst>
        </pc:spChg>
        <pc:spChg chg="del">
          <ac:chgData name="LAISSAOUI, Ghita" userId="ac8a0427-4948-4bf4-bb5c-4b9a41a9bd01" providerId="ADAL" clId="{8C4A23C6-A272-4AE5-87F4-94EB44631B18}" dt="2022-01-27T15:04:46.713" v="5342" actId="478"/>
          <ac:spMkLst>
            <pc:docMk/>
            <pc:sldMk cId="176630824" sldId="2147229403"/>
            <ac:spMk id="4" creationId="{15E659B3-EA4B-405E-9FAE-00661F32418F}"/>
          </ac:spMkLst>
        </pc:spChg>
        <pc:spChg chg="add del mod">
          <ac:chgData name="LAISSAOUI, Ghita" userId="ac8a0427-4948-4bf4-bb5c-4b9a41a9bd01" providerId="ADAL" clId="{8C4A23C6-A272-4AE5-87F4-94EB44631B18}" dt="2022-01-27T15:05:10.038" v="5348" actId="478"/>
          <ac:spMkLst>
            <pc:docMk/>
            <pc:sldMk cId="176630824" sldId="2147229403"/>
            <ac:spMk id="5" creationId="{12F365E5-4F49-4560-99FA-F7B63535E783}"/>
          </ac:spMkLst>
        </pc:spChg>
        <pc:spChg chg="add del mod">
          <ac:chgData name="LAISSAOUI, Ghita" userId="ac8a0427-4948-4bf4-bb5c-4b9a41a9bd01" providerId="ADAL" clId="{8C4A23C6-A272-4AE5-87F4-94EB44631B18}" dt="2022-01-27T15:05:08.419" v="5347" actId="478"/>
          <ac:spMkLst>
            <pc:docMk/>
            <pc:sldMk cId="176630824" sldId="2147229403"/>
            <ac:spMk id="7" creationId="{A11DEACD-F880-4766-837A-3ABCCE2D74E9}"/>
          </ac:spMkLst>
        </pc:spChg>
        <pc:spChg chg="add mod">
          <ac:chgData name="LAISSAOUI, Ghita" userId="ac8a0427-4948-4bf4-bb5c-4b9a41a9bd01" providerId="ADAL" clId="{8C4A23C6-A272-4AE5-87F4-94EB44631B18}" dt="2022-01-27T15:08:00.859" v="5380" actId="207"/>
          <ac:spMkLst>
            <pc:docMk/>
            <pc:sldMk cId="176630824" sldId="2147229403"/>
            <ac:spMk id="12" creationId="{6770521C-F4FF-48CE-8A49-215B3883F657}"/>
          </ac:spMkLst>
        </pc:spChg>
        <pc:spChg chg="add del mod">
          <ac:chgData name="LAISSAOUI, Ghita" userId="ac8a0427-4948-4bf4-bb5c-4b9a41a9bd01" providerId="ADAL" clId="{8C4A23C6-A272-4AE5-87F4-94EB44631B18}" dt="2022-01-27T15:05:02.576" v="5346" actId="478"/>
          <ac:spMkLst>
            <pc:docMk/>
            <pc:sldMk cId="176630824" sldId="2147229403"/>
            <ac:spMk id="13" creationId="{03490DB8-BE20-4F5E-A89C-86DED23198BB}"/>
          </ac:spMkLst>
        </pc:spChg>
      </pc:sldChg>
      <pc:sldChg chg="add del">
        <pc:chgData name="LAISSAOUI, Ghita" userId="ac8a0427-4948-4bf4-bb5c-4b9a41a9bd01" providerId="ADAL" clId="{8C4A23C6-A272-4AE5-87F4-94EB44631B18}" dt="2022-01-27T14:55:47.756" v="5277"/>
        <pc:sldMkLst>
          <pc:docMk/>
          <pc:sldMk cId="1805521326" sldId="2147229403"/>
        </pc:sldMkLst>
      </pc:sldChg>
      <pc:sldChg chg="add del">
        <pc:chgData name="LAISSAOUI, Ghita" userId="ac8a0427-4948-4bf4-bb5c-4b9a41a9bd01" providerId="ADAL" clId="{8C4A23C6-A272-4AE5-87F4-94EB44631B18}" dt="2022-02-01T14:22:29.752" v="9619" actId="47"/>
        <pc:sldMkLst>
          <pc:docMk/>
          <pc:sldMk cId="2008408538" sldId="2147229404"/>
        </pc:sldMkLst>
      </pc:sldChg>
      <pc:sldChg chg="addSp delSp modSp add del mod ord">
        <pc:chgData name="LAISSAOUI, Ghita" userId="ac8a0427-4948-4bf4-bb5c-4b9a41a9bd01" providerId="ADAL" clId="{8C4A23C6-A272-4AE5-87F4-94EB44631B18}" dt="2022-01-31T06:50:56.883" v="7743" actId="47"/>
        <pc:sldMkLst>
          <pc:docMk/>
          <pc:sldMk cId="2680073943" sldId="2147229404"/>
        </pc:sldMkLst>
        <pc:spChg chg="del">
          <ac:chgData name="LAISSAOUI, Ghita" userId="ac8a0427-4948-4bf4-bb5c-4b9a41a9bd01" providerId="ADAL" clId="{8C4A23C6-A272-4AE5-87F4-94EB44631B18}" dt="2022-01-27T15:05:43.178" v="5353" actId="478"/>
          <ac:spMkLst>
            <pc:docMk/>
            <pc:sldMk cId="2680073943" sldId="2147229404"/>
            <ac:spMk id="3" creationId="{E1F9D801-434D-4FD6-A38C-A6C187DD7E2B}"/>
          </ac:spMkLst>
        </pc:spChg>
        <pc:spChg chg="del">
          <ac:chgData name="LAISSAOUI, Ghita" userId="ac8a0427-4948-4bf4-bb5c-4b9a41a9bd01" providerId="ADAL" clId="{8C4A23C6-A272-4AE5-87F4-94EB44631B18}" dt="2022-01-27T15:05:43.178" v="5353" actId="478"/>
          <ac:spMkLst>
            <pc:docMk/>
            <pc:sldMk cId="2680073943" sldId="2147229404"/>
            <ac:spMk id="4" creationId="{15E659B3-EA4B-405E-9FAE-00661F32418F}"/>
          </ac:spMkLst>
        </pc:spChg>
        <pc:spChg chg="add del mod">
          <ac:chgData name="LAISSAOUI, Ghita" userId="ac8a0427-4948-4bf4-bb5c-4b9a41a9bd01" providerId="ADAL" clId="{8C4A23C6-A272-4AE5-87F4-94EB44631B18}" dt="2022-01-27T15:06:19.425" v="5363" actId="478"/>
          <ac:spMkLst>
            <pc:docMk/>
            <pc:sldMk cId="2680073943" sldId="2147229404"/>
            <ac:spMk id="5" creationId="{EA6FA165-B9CB-471B-9855-B282E982D454}"/>
          </ac:spMkLst>
        </pc:spChg>
        <pc:spChg chg="add del mod">
          <ac:chgData name="LAISSAOUI, Ghita" userId="ac8a0427-4948-4bf4-bb5c-4b9a41a9bd01" providerId="ADAL" clId="{8C4A23C6-A272-4AE5-87F4-94EB44631B18}" dt="2022-01-27T15:06:11.473" v="5360" actId="478"/>
          <ac:spMkLst>
            <pc:docMk/>
            <pc:sldMk cId="2680073943" sldId="2147229404"/>
            <ac:spMk id="7" creationId="{77A8ABC0-BAEE-40E5-80D3-753733705401}"/>
          </ac:spMkLst>
        </pc:spChg>
        <pc:spChg chg="add del mod">
          <ac:chgData name="LAISSAOUI, Ghita" userId="ac8a0427-4948-4bf4-bb5c-4b9a41a9bd01" providerId="ADAL" clId="{8C4A23C6-A272-4AE5-87F4-94EB44631B18}" dt="2022-01-27T15:05:48.076" v="5355"/>
          <ac:spMkLst>
            <pc:docMk/>
            <pc:sldMk cId="2680073943" sldId="2147229404"/>
            <ac:spMk id="12" creationId="{E16E1E45-F72A-438F-857E-C6675EECCB08}"/>
          </ac:spMkLst>
        </pc:spChg>
        <pc:spChg chg="add del mod">
          <ac:chgData name="LAISSAOUI, Ghita" userId="ac8a0427-4948-4bf4-bb5c-4b9a41a9bd01" providerId="ADAL" clId="{8C4A23C6-A272-4AE5-87F4-94EB44631B18}" dt="2022-01-27T15:05:48.076" v="5355"/>
          <ac:spMkLst>
            <pc:docMk/>
            <pc:sldMk cId="2680073943" sldId="2147229404"/>
            <ac:spMk id="13" creationId="{E2AAD6E8-1708-4728-918C-371195C20844}"/>
          </ac:spMkLst>
        </pc:spChg>
        <pc:spChg chg="add del mod">
          <ac:chgData name="LAISSAOUI, Ghita" userId="ac8a0427-4948-4bf4-bb5c-4b9a41a9bd01" providerId="ADAL" clId="{8C4A23C6-A272-4AE5-87F4-94EB44631B18}" dt="2022-01-27T15:08:08.543" v="5382" actId="207"/>
          <ac:spMkLst>
            <pc:docMk/>
            <pc:sldMk cId="2680073943" sldId="2147229404"/>
            <ac:spMk id="15" creationId="{77DA4A4C-D0B8-4676-BF57-25C90CB5E364}"/>
          </ac:spMkLst>
        </pc:spChg>
        <pc:spChg chg="add del mod">
          <ac:chgData name="LAISSAOUI, Ghita" userId="ac8a0427-4948-4bf4-bb5c-4b9a41a9bd01" providerId="ADAL" clId="{8C4A23C6-A272-4AE5-87F4-94EB44631B18}" dt="2022-01-27T15:06:17.045" v="5362" actId="478"/>
          <ac:spMkLst>
            <pc:docMk/>
            <pc:sldMk cId="2680073943" sldId="2147229404"/>
            <ac:spMk id="18" creationId="{EC61075C-4D25-4397-BF65-AEF25D40874D}"/>
          </ac:spMkLst>
        </pc:spChg>
        <pc:picChg chg="del">
          <ac:chgData name="LAISSAOUI, Ghita" userId="ac8a0427-4948-4bf4-bb5c-4b9a41a9bd01" providerId="ADAL" clId="{8C4A23C6-A272-4AE5-87F4-94EB44631B18}" dt="2022-01-27T15:05:43.178" v="5353" actId="478"/>
          <ac:picMkLst>
            <pc:docMk/>
            <pc:sldMk cId="2680073943" sldId="2147229404"/>
            <ac:picMk id="14" creationId="{670A87F5-3E7F-4182-9030-1419F29D9A06}"/>
          </ac:picMkLst>
        </pc:picChg>
        <pc:picChg chg="add mod ord">
          <ac:chgData name="LAISSAOUI, Ghita" userId="ac8a0427-4948-4bf4-bb5c-4b9a41a9bd01" providerId="ADAL" clId="{8C4A23C6-A272-4AE5-87F4-94EB44631B18}" dt="2022-01-27T15:06:29.042" v="5365" actId="167"/>
          <ac:picMkLst>
            <pc:docMk/>
            <pc:sldMk cId="2680073943" sldId="2147229404"/>
            <ac:picMk id="19" creationId="{C2F58E84-DBE2-45CF-A0FA-1D599E839027}"/>
          </ac:picMkLst>
        </pc:picChg>
      </pc:sldChg>
      <pc:sldChg chg="addSp delSp modSp add del mod ord">
        <pc:chgData name="LAISSAOUI, Ghita" userId="ac8a0427-4948-4bf4-bb5c-4b9a41a9bd01" providerId="ADAL" clId="{8C4A23C6-A272-4AE5-87F4-94EB44631B18}" dt="2022-01-31T06:52:20.870" v="7811" actId="47"/>
        <pc:sldMkLst>
          <pc:docMk/>
          <pc:sldMk cId="504526879" sldId="2147229405"/>
        </pc:sldMkLst>
        <pc:spChg chg="add del mod">
          <ac:chgData name="LAISSAOUI, Ghita" userId="ac8a0427-4948-4bf4-bb5c-4b9a41a9bd01" providerId="ADAL" clId="{8C4A23C6-A272-4AE5-87F4-94EB44631B18}" dt="2022-01-27T15:07:24.872" v="5372"/>
          <ac:spMkLst>
            <pc:docMk/>
            <pc:sldMk cId="504526879" sldId="2147229405"/>
            <ac:spMk id="8" creationId="{B9C9379C-20FB-4200-B28A-DF63AFC19672}"/>
          </ac:spMkLst>
        </pc:spChg>
        <pc:spChg chg="add mod">
          <ac:chgData name="LAISSAOUI, Ghita" userId="ac8a0427-4948-4bf4-bb5c-4b9a41a9bd01" providerId="ADAL" clId="{8C4A23C6-A272-4AE5-87F4-94EB44631B18}" dt="2022-01-28T15:42:55.527" v="7047" actId="20577"/>
          <ac:spMkLst>
            <pc:docMk/>
            <pc:sldMk cId="504526879" sldId="2147229405"/>
            <ac:spMk id="9" creationId="{ADBFBDB5-4F23-48D6-A34B-E9072DD6CBB3}"/>
          </ac:spMkLst>
        </pc:spChg>
        <pc:spChg chg="del">
          <ac:chgData name="LAISSAOUI, Ghita" userId="ac8a0427-4948-4bf4-bb5c-4b9a41a9bd01" providerId="ADAL" clId="{8C4A23C6-A272-4AE5-87F4-94EB44631B18}" dt="2022-01-27T15:07:29.590" v="5373" actId="478"/>
          <ac:spMkLst>
            <pc:docMk/>
            <pc:sldMk cId="504526879" sldId="2147229405"/>
            <ac:spMk id="15" creationId="{77DA4A4C-D0B8-4676-BF57-25C90CB5E364}"/>
          </ac:spMkLst>
        </pc:spChg>
        <pc:spChg chg="mod">
          <ac:chgData name="LAISSAOUI, Ghita" userId="ac8a0427-4948-4bf4-bb5c-4b9a41a9bd01" providerId="ADAL" clId="{8C4A23C6-A272-4AE5-87F4-94EB44631B18}" dt="2022-01-27T15:07:09.946" v="5369" actId="20577"/>
          <ac:spMkLst>
            <pc:docMk/>
            <pc:sldMk cId="504526879" sldId="2147229405"/>
            <ac:spMk id="18" creationId="{EC61075C-4D25-4397-BF65-AEF25D40874D}"/>
          </ac:spMkLst>
        </pc:spChg>
      </pc:sldChg>
      <pc:sldChg chg="addSp modSp add del">
        <pc:chgData name="LAISSAOUI, Ghita" userId="ac8a0427-4948-4bf4-bb5c-4b9a41a9bd01" providerId="ADAL" clId="{8C4A23C6-A272-4AE5-87F4-94EB44631B18}" dt="2022-02-01T14:22:29.752" v="9619" actId="47"/>
        <pc:sldMkLst>
          <pc:docMk/>
          <pc:sldMk cId="3744760359" sldId="2147229405"/>
        </pc:sldMkLst>
        <pc:spChg chg="add mod">
          <ac:chgData name="LAISSAOUI, Ghita" userId="ac8a0427-4948-4bf4-bb5c-4b9a41a9bd01" providerId="ADAL" clId="{8C4A23C6-A272-4AE5-87F4-94EB44631B18}" dt="2022-01-31T09:23:53.832" v="8989"/>
          <ac:spMkLst>
            <pc:docMk/>
            <pc:sldMk cId="3744760359" sldId="2147229405"/>
            <ac:spMk id="8" creationId="{DE749D6A-D5EB-4D81-9528-604DE33CC2F2}"/>
          </ac:spMkLst>
        </pc:spChg>
      </pc:sldChg>
      <pc:sldChg chg="addSp modSp add del">
        <pc:chgData name="LAISSAOUI, Ghita" userId="ac8a0427-4948-4bf4-bb5c-4b9a41a9bd01" providerId="ADAL" clId="{8C4A23C6-A272-4AE5-87F4-94EB44631B18}" dt="2022-02-01T14:22:29.752" v="9619" actId="47"/>
        <pc:sldMkLst>
          <pc:docMk/>
          <pc:sldMk cId="1973369665" sldId="2147229406"/>
        </pc:sldMkLst>
        <pc:spChg chg="add mod">
          <ac:chgData name="LAISSAOUI, Ghita" userId="ac8a0427-4948-4bf4-bb5c-4b9a41a9bd01" providerId="ADAL" clId="{8C4A23C6-A272-4AE5-87F4-94EB44631B18}" dt="2022-01-31T09:23:55.665" v="8990"/>
          <ac:spMkLst>
            <pc:docMk/>
            <pc:sldMk cId="1973369665" sldId="2147229406"/>
            <ac:spMk id="8" creationId="{6EA77A26-2F59-494D-BDA7-0472353FDFB8}"/>
          </ac:spMkLst>
        </pc:spChg>
      </pc:sldChg>
      <pc:sldChg chg="addSp delSp modSp add del mod ord">
        <pc:chgData name="LAISSAOUI, Ghita" userId="ac8a0427-4948-4bf4-bb5c-4b9a41a9bd01" providerId="ADAL" clId="{8C4A23C6-A272-4AE5-87F4-94EB44631B18}" dt="2022-01-31T06:52:43.703" v="7850" actId="47"/>
        <pc:sldMkLst>
          <pc:docMk/>
          <pc:sldMk cId="3565891824" sldId="2147229406"/>
        </pc:sldMkLst>
        <pc:spChg chg="add mod">
          <ac:chgData name="LAISSAOUI, Ghita" userId="ac8a0427-4948-4bf4-bb5c-4b9a41a9bd01" providerId="ADAL" clId="{8C4A23C6-A272-4AE5-87F4-94EB44631B18}" dt="2022-01-27T15:08:21.181" v="5386" actId="2711"/>
          <ac:spMkLst>
            <pc:docMk/>
            <pc:sldMk cId="3565891824" sldId="2147229406"/>
            <ac:spMk id="8" creationId="{EE41BBEB-4C41-43A4-AF8B-8F6F1FDC79AB}"/>
          </ac:spMkLst>
        </pc:spChg>
        <pc:spChg chg="del">
          <ac:chgData name="LAISSAOUI, Ghita" userId="ac8a0427-4948-4bf4-bb5c-4b9a41a9bd01" providerId="ADAL" clId="{8C4A23C6-A272-4AE5-87F4-94EB44631B18}" dt="2022-01-27T15:07:45.568" v="5376" actId="478"/>
          <ac:spMkLst>
            <pc:docMk/>
            <pc:sldMk cId="3565891824" sldId="2147229406"/>
            <ac:spMk id="15" creationId="{77DA4A4C-D0B8-4676-BF57-25C90CB5E364}"/>
          </ac:spMkLst>
        </pc:spChg>
        <pc:spChg chg="mod">
          <ac:chgData name="LAISSAOUI, Ghita" userId="ac8a0427-4948-4bf4-bb5c-4b9a41a9bd01" providerId="ADAL" clId="{8C4A23C6-A272-4AE5-87F4-94EB44631B18}" dt="2022-01-27T15:07:14.035" v="5370" actId="20577"/>
          <ac:spMkLst>
            <pc:docMk/>
            <pc:sldMk cId="3565891824" sldId="2147229406"/>
            <ac:spMk id="18" creationId="{EC61075C-4D25-4397-BF65-AEF25D40874D}"/>
          </ac:spMkLst>
        </pc:spChg>
      </pc:sldChg>
      <pc:sldChg chg="addSp modSp add">
        <pc:chgData name="LAISSAOUI, Ghita" userId="ac8a0427-4948-4bf4-bb5c-4b9a41a9bd01" providerId="ADAL" clId="{8C4A23C6-A272-4AE5-87F4-94EB44631B18}" dt="2022-02-01T14:22:06.189" v="9612"/>
        <pc:sldMkLst>
          <pc:docMk/>
          <pc:sldMk cId="3414044056" sldId="2147229407"/>
        </pc:sldMkLst>
        <pc:spChg chg="add mod">
          <ac:chgData name="LAISSAOUI, Ghita" userId="ac8a0427-4948-4bf4-bb5c-4b9a41a9bd01" providerId="ADAL" clId="{8C4A23C6-A272-4AE5-87F4-94EB44631B18}" dt="2022-02-01T14:22:06.189" v="9612"/>
          <ac:spMkLst>
            <pc:docMk/>
            <pc:sldMk cId="3414044056" sldId="2147229407"/>
            <ac:spMk id="5" creationId="{058D7F42-66B2-4876-9DD8-92D00014660B}"/>
          </ac:spMkLst>
        </pc:spChg>
      </pc:sldChg>
      <pc:sldChg chg="add del">
        <pc:chgData name="LAISSAOUI, Ghita" userId="ac8a0427-4948-4bf4-bb5c-4b9a41a9bd01" providerId="ADAL" clId="{8C4A23C6-A272-4AE5-87F4-94EB44631B18}" dt="2022-01-28T16:15:27.343" v="7475" actId="47"/>
        <pc:sldMkLst>
          <pc:docMk/>
          <pc:sldMk cId="4108034547" sldId="2147229407"/>
        </pc:sldMkLst>
      </pc:sldChg>
      <pc:sldChg chg="add modNotesTx">
        <pc:chgData name="LAISSAOUI, Ghita" userId="ac8a0427-4948-4bf4-bb5c-4b9a41a9bd01" providerId="ADAL" clId="{8C4A23C6-A272-4AE5-87F4-94EB44631B18}" dt="2022-01-31T09:42:47.551" v="8991" actId="20577"/>
        <pc:sldMkLst>
          <pc:docMk/>
          <pc:sldMk cId="4109764176" sldId="2147229408"/>
        </pc:sldMkLst>
      </pc:sldChg>
      <pc:sldChg chg="delSp modSp add del mod ord modNotesTx">
        <pc:chgData name="LAISSAOUI, Ghita" userId="ac8a0427-4948-4bf4-bb5c-4b9a41a9bd01" providerId="ADAL" clId="{8C4A23C6-A272-4AE5-87F4-94EB44631B18}" dt="2022-01-31T07:21:34.499" v="8278" actId="47"/>
        <pc:sldMkLst>
          <pc:docMk/>
          <pc:sldMk cId="2347281762" sldId="2147229409"/>
        </pc:sldMkLst>
        <pc:spChg chg="mod">
          <ac:chgData name="LAISSAOUI, Ghita" userId="ac8a0427-4948-4bf4-bb5c-4b9a41a9bd01" providerId="ADAL" clId="{8C4A23C6-A272-4AE5-87F4-94EB44631B18}" dt="2022-01-28T16:11:57.591" v="7458" actId="14100"/>
          <ac:spMkLst>
            <pc:docMk/>
            <pc:sldMk cId="2347281762" sldId="2147229409"/>
            <ac:spMk id="7" creationId="{F64AF913-53F0-4E15-8624-B36EA4067070}"/>
          </ac:spMkLst>
        </pc:spChg>
        <pc:picChg chg="del">
          <ac:chgData name="LAISSAOUI, Ghita" userId="ac8a0427-4948-4bf4-bb5c-4b9a41a9bd01" providerId="ADAL" clId="{8C4A23C6-A272-4AE5-87F4-94EB44631B18}" dt="2022-01-28T16:11:34.840" v="7454" actId="478"/>
          <ac:picMkLst>
            <pc:docMk/>
            <pc:sldMk cId="2347281762" sldId="2147229409"/>
            <ac:picMk id="3" creationId="{3BC13145-7467-435B-AE9D-1FD0A3A6EE85}"/>
          </ac:picMkLst>
        </pc:picChg>
      </pc:sldChg>
      <pc:sldChg chg="addSp delSp modSp add mod modShow">
        <pc:chgData name="LAISSAOUI, Ghita" userId="ac8a0427-4948-4bf4-bb5c-4b9a41a9bd01" providerId="ADAL" clId="{8C4A23C6-A272-4AE5-87F4-94EB44631B18}" dt="2022-01-28T16:34:31.179" v="7625" actId="478"/>
        <pc:sldMkLst>
          <pc:docMk/>
          <pc:sldMk cId="1128458317" sldId="2147229410"/>
        </pc:sldMkLst>
        <pc:spChg chg="add mod">
          <ac:chgData name="LAISSAOUI, Ghita" userId="ac8a0427-4948-4bf4-bb5c-4b9a41a9bd01" providerId="ADAL" clId="{8C4A23C6-A272-4AE5-87F4-94EB44631B18}" dt="2022-01-28T16:16:20.819" v="7483"/>
          <ac:spMkLst>
            <pc:docMk/>
            <pc:sldMk cId="1128458317" sldId="2147229410"/>
            <ac:spMk id="9" creationId="{ECB0D2C8-3960-49B3-B667-D565B8722A21}"/>
          </ac:spMkLst>
        </pc:spChg>
        <pc:spChg chg="add mod">
          <ac:chgData name="LAISSAOUI, Ghita" userId="ac8a0427-4948-4bf4-bb5c-4b9a41a9bd01" providerId="ADAL" clId="{8C4A23C6-A272-4AE5-87F4-94EB44631B18}" dt="2022-01-28T16:28:23.582" v="7612" actId="255"/>
          <ac:spMkLst>
            <pc:docMk/>
            <pc:sldMk cId="1128458317" sldId="2147229410"/>
            <ac:spMk id="14" creationId="{4C420B6D-E27F-4B66-86D9-4F0FF66D9FA6}"/>
          </ac:spMkLst>
        </pc:spChg>
        <pc:spChg chg="add mod">
          <ac:chgData name="LAISSAOUI, Ghita" userId="ac8a0427-4948-4bf4-bb5c-4b9a41a9bd01" providerId="ADAL" clId="{8C4A23C6-A272-4AE5-87F4-94EB44631B18}" dt="2022-01-28T16:16:20.819" v="7483"/>
          <ac:spMkLst>
            <pc:docMk/>
            <pc:sldMk cId="1128458317" sldId="2147229410"/>
            <ac:spMk id="16" creationId="{333249C2-107C-42D1-9E6A-8391480B2539}"/>
          </ac:spMkLst>
        </pc:spChg>
        <pc:spChg chg="add mod">
          <ac:chgData name="LAISSAOUI, Ghita" userId="ac8a0427-4948-4bf4-bb5c-4b9a41a9bd01" providerId="ADAL" clId="{8C4A23C6-A272-4AE5-87F4-94EB44631B18}" dt="2022-01-28T16:25:39.831" v="7609" actId="1076"/>
          <ac:spMkLst>
            <pc:docMk/>
            <pc:sldMk cId="1128458317" sldId="2147229410"/>
            <ac:spMk id="19" creationId="{8D4067B0-97C7-4124-BB62-904984B2F76D}"/>
          </ac:spMkLst>
        </pc:spChg>
        <pc:spChg chg="add mod ord">
          <ac:chgData name="LAISSAOUI, Ghita" userId="ac8a0427-4948-4bf4-bb5c-4b9a41a9bd01" providerId="ADAL" clId="{8C4A23C6-A272-4AE5-87F4-94EB44631B18}" dt="2022-01-28T16:28:00.932" v="7611" actId="1076"/>
          <ac:spMkLst>
            <pc:docMk/>
            <pc:sldMk cId="1128458317" sldId="2147229410"/>
            <ac:spMk id="20" creationId="{D819D75E-6990-42A0-B121-2D5D4C647E60}"/>
          </ac:spMkLst>
        </pc:spChg>
        <pc:spChg chg="mod">
          <ac:chgData name="LAISSAOUI, Ghita" userId="ac8a0427-4948-4bf4-bb5c-4b9a41a9bd01" providerId="ADAL" clId="{8C4A23C6-A272-4AE5-87F4-94EB44631B18}" dt="2022-01-28T16:15:49.092" v="7481"/>
          <ac:spMkLst>
            <pc:docMk/>
            <pc:sldMk cId="1128458317" sldId="2147229410"/>
            <ac:spMk id="983" creationId="{00000000-0000-0000-0000-000000000000}"/>
          </ac:spMkLst>
        </pc:spChg>
        <pc:grpChg chg="add mod">
          <ac:chgData name="LAISSAOUI, Ghita" userId="ac8a0427-4948-4bf4-bb5c-4b9a41a9bd01" providerId="ADAL" clId="{8C4A23C6-A272-4AE5-87F4-94EB44631B18}" dt="2022-01-28T16:21:52.046" v="7595" actId="164"/>
          <ac:grpSpMkLst>
            <pc:docMk/>
            <pc:sldMk cId="1128458317" sldId="2147229410"/>
            <ac:grpSpMk id="2" creationId="{2080C867-CA16-4CF3-858D-A53E643C2239}"/>
          </ac:grpSpMkLst>
        </pc:grpChg>
        <pc:graphicFrameChg chg="add del mod modGraphic">
          <ac:chgData name="LAISSAOUI, Ghita" userId="ac8a0427-4948-4bf4-bb5c-4b9a41a9bd01" providerId="ADAL" clId="{8C4A23C6-A272-4AE5-87F4-94EB44631B18}" dt="2022-01-28T16:34:31.179" v="7625" actId="478"/>
          <ac:graphicFrameMkLst>
            <pc:docMk/>
            <pc:sldMk cId="1128458317" sldId="2147229410"/>
            <ac:graphicFrameMk id="3" creationId="{22BFB5E1-74A6-4CA1-915F-ABA4580163A7}"/>
          </ac:graphicFrameMkLst>
        </pc:graphicFrameChg>
        <pc:picChg chg="del">
          <ac:chgData name="LAISSAOUI, Ghita" userId="ac8a0427-4948-4bf4-bb5c-4b9a41a9bd01" providerId="ADAL" clId="{8C4A23C6-A272-4AE5-87F4-94EB44631B18}" dt="2022-01-28T16:15:57.774" v="7482" actId="478"/>
          <ac:picMkLst>
            <pc:docMk/>
            <pc:sldMk cId="1128458317" sldId="2147229410"/>
            <ac:picMk id="4" creationId="{77A4FE12-1B93-4FA5-9D9F-5BA43724FED1}"/>
          </ac:picMkLst>
        </pc:picChg>
        <pc:picChg chg="del">
          <ac:chgData name="LAISSAOUI, Ghita" userId="ac8a0427-4948-4bf4-bb5c-4b9a41a9bd01" providerId="ADAL" clId="{8C4A23C6-A272-4AE5-87F4-94EB44631B18}" dt="2022-01-28T16:15:57.774" v="7482" actId="478"/>
          <ac:picMkLst>
            <pc:docMk/>
            <pc:sldMk cId="1128458317" sldId="2147229410"/>
            <ac:picMk id="10" creationId="{4DC601A4-A2EC-4A15-980D-E49EC7AB3AF2}"/>
          </ac:picMkLst>
        </pc:picChg>
        <pc:picChg chg="del">
          <ac:chgData name="LAISSAOUI, Ghita" userId="ac8a0427-4948-4bf4-bb5c-4b9a41a9bd01" providerId="ADAL" clId="{8C4A23C6-A272-4AE5-87F4-94EB44631B18}" dt="2022-01-28T16:15:57.774" v="7482" actId="478"/>
          <ac:picMkLst>
            <pc:docMk/>
            <pc:sldMk cId="1128458317" sldId="2147229410"/>
            <ac:picMk id="11" creationId="{77ACBFC3-1BEA-4B9B-AE73-C559ED9C323C}"/>
          </ac:picMkLst>
        </pc:picChg>
        <pc:picChg chg="del">
          <ac:chgData name="LAISSAOUI, Ghita" userId="ac8a0427-4948-4bf4-bb5c-4b9a41a9bd01" providerId="ADAL" clId="{8C4A23C6-A272-4AE5-87F4-94EB44631B18}" dt="2022-01-28T16:15:57.774" v="7482" actId="478"/>
          <ac:picMkLst>
            <pc:docMk/>
            <pc:sldMk cId="1128458317" sldId="2147229410"/>
            <ac:picMk id="12" creationId="{CC196FC7-2530-4868-A579-369646272F10}"/>
          </ac:picMkLst>
        </pc:picChg>
        <pc:picChg chg="del">
          <ac:chgData name="LAISSAOUI, Ghita" userId="ac8a0427-4948-4bf4-bb5c-4b9a41a9bd01" providerId="ADAL" clId="{8C4A23C6-A272-4AE5-87F4-94EB44631B18}" dt="2022-01-28T16:15:57.774" v="7482" actId="478"/>
          <ac:picMkLst>
            <pc:docMk/>
            <pc:sldMk cId="1128458317" sldId="2147229410"/>
            <ac:picMk id="13" creationId="{C75D35F2-AEBF-48DD-AF39-A1B3E44AD484}"/>
          </ac:picMkLst>
        </pc:picChg>
        <pc:picChg chg="add mod modCrop">
          <ac:chgData name="LAISSAOUI, Ghita" userId="ac8a0427-4948-4bf4-bb5c-4b9a41a9bd01" providerId="ADAL" clId="{8C4A23C6-A272-4AE5-87F4-94EB44631B18}" dt="2022-01-28T16:21:52.046" v="7595" actId="164"/>
          <ac:picMkLst>
            <pc:docMk/>
            <pc:sldMk cId="1128458317" sldId="2147229410"/>
            <ac:picMk id="15" creationId="{0B87BF20-C81E-4A44-BC37-FD21E1140A16}"/>
          </ac:picMkLst>
        </pc:picChg>
        <pc:picChg chg="add mod">
          <ac:chgData name="LAISSAOUI, Ghita" userId="ac8a0427-4948-4bf4-bb5c-4b9a41a9bd01" providerId="ADAL" clId="{8C4A23C6-A272-4AE5-87F4-94EB44631B18}" dt="2022-01-28T16:16:20.819" v="7483"/>
          <ac:picMkLst>
            <pc:docMk/>
            <pc:sldMk cId="1128458317" sldId="2147229410"/>
            <ac:picMk id="17" creationId="{E26BF0C9-2FBE-4DD8-A565-DDC653742C3B}"/>
          </ac:picMkLst>
        </pc:picChg>
        <pc:picChg chg="add mod">
          <ac:chgData name="LAISSAOUI, Ghita" userId="ac8a0427-4948-4bf4-bb5c-4b9a41a9bd01" providerId="ADAL" clId="{8C4A23C6-A272-4AE5-87F4-94EB44631B18}" dt="2022-01-28T16:16:20.819" v="7483"/>
          <ac:picMkLst>
            <pc:docMk/>
            <pc:sldMk cId="1128458317" sldId="2147229410"/>
            <ac:picMk id="18" creationId="{C3CCBA26-9136-4D34-8CA8-8FC0C7367AB0}"/>
          </ac:picMkLst>
        </pc:picChg>
        <pc:picChg chg="add mod modCrop">
          <ac:chgData name="LAISSAOUI, Ghita" userId="ac8a0427-4948-4bf4-bb5c-4b9a41a9bd01" providerId="ADAL" clId="{8C4A23C6-A272-4AE5-87F4-94EB44631B18}" dt="2022-01-28T16:21:52.046" v="7595" actId="164"/>
          <ac:picMkLst>
            <pc:docMk/>
            <pc:sldMk cId="1128458317" sldId="2147229410"/>
            <ac:picMk id="21" creationId="{E4B95FBE-39BE-44EF-830B-68A8343A558C}"/>
          </ac:picMkLst>
        </pc:picChg>
        <pc:picChg chg="add del mod modCrop">
          <ac:chgData name="LAISSAOUI, Ghita" userId="ac8a0427-4948-4bf4-bb5c-4b9a41a9bd01" providerId="ADAL" clId="{8C4A23C6-A272-4AE5-87F4-94EB44631B18}" dt="2022-01-28T16:25:20.064" v="7606" actId="478"/>
          <ac:picMkLst>
            <pc:docMk/>
            <pc:sldMk cId="1128458317" sldId="2147229410"/>
            <ac:picMk id="22" creationId="{6B51FD40-08C3-492F-B38F-7612AD645205}"/>
          </ac:picMkLst>
        </pc:picChg>
      </pc:sldChg>
      <pc:sldChg chg="addSp delSp modSp add mod">
        <pc:chgData name="LAISSAOUI, Ghita" userId="ac8a0427-4948-4bf4-bb5c-4b9a41a9bd01" providerId="ADAL" clId="{8C4A23C6-A272-4AE5-87F4-94EB44631B18}" dt="2022-01-28T16:28:32.954" v="7613" actId="255"/>
        <pc:sldMkLst>
          <pc:docMk/>
          <pc:sldMk cId="3782416445" sldId="2147229411"/>
        </pc:sldMkLst>
        <pc:spChg chg="del">
          <ac:chgData name="LAISSAOUI, Ghita" userId="ac8a0427-4948-4bf4-bb5c-4b9a41a9bd01" providerId="ADAL" clId="{8C4A23C6-A272-4AE5-87F4-94EB44631B18}" dt="2022-01-28T16:17:30.043" v="7500" actId="478"/>
          <ac:spMkLst>
            <pc:docMk/>
            <pc:sldMk cId="3782416445" sldId="2147229411"/>
            <ac:spMk id="9" creationId="{ECB0D2C8-3960-49B3-B667-D565B8722A21}"/>
          </ac:spMkLst>
        </pc:spChg>
        <pc:spChg chg="add mod">
          <ac:chgData name="LAISSAOUI, Ghita" userId="ac8a0427-4948-4bf4-bb5c-4b9a41a9bd01" providerId="ADAL" clId="{8C4A23C6-A272-4AE5-87F4-94EB44631B18}" dt="2022-01-28T16:28:32.954" v="7613" actId="255"/>
          <ac:spMkLst>
            <pc:docMk/>
            <pc:sldMk cId="3782416445" sldId="2147229411"/>
            <ac:spMk id="13" creationId="{9C34B219-712F-4B6E-8986-4DEF2E4DA995}"/>
          </ac:spMkLst>
        </pc:spChg>
        <pc:spChg chg="del">
          <ac:chgData name="LAISSAOUI, Ghita" userId="ac8a0427-4948-4bf4-bb5c-4b9a41a9bd01" providerId="ADAL" clId="{8C4A23C6-A272-4AE5-87F4-94EB44631B18}" dt="2022-01-28T16:17:30.043" v="7500" actId="478"/>
          <ac:spMkLst>
            <pc:docMk/>
            <pc:sldMk cId="3782416445" sldId="2147229411"/>
            <ac:spMk id="14" creationId="{4C420B6D-E27F-4B66-86D9-4F0FF66D9FA6}"/>
          </ac:spMkLst>
        </pc:spChg>
        <pc:spChg chg="del">
          <ac:chgData name="LAISSAOUI, Ghita" userId="ac8a0427-4948-4bf4-bb5c-4b9a41a9bd01" providerId="ADAL" clId="{8C4A23C6-A272-4AE5-87F4-94EB44631B18}" dt="2022-01-28T16:17:30.043" v="7500" actId="478"/>
          <ac:spMkLst>
            <pc:docMk/>
            <pc:sldMk cId="3782416445" sldId="2147229411"/>
            <ac:spMk id="16" creationId="{333249C2-107C-42D1-9E6A-8391480B2539}"/>
          </ac:spMkLst>
        </pc:spChg>
        <pc:spChg chg="del">
          <ac:chgData name="LAISSAOUI, Ghita" userId="ac8a0427-4948-4bf4-bb5c-4b9a41a9bd01" providerId="ADAL" clId="{8C4A23C6-A272-4AE5-87F4-94EB44631B18}" dt="2022-01-28T16:17:30.043" v="7500" actId="478"/>
          <ac:spMkLst>
            <pc:docMk/>
            <pc:sldMk cId="3782416445" sldId="2147229411"/>
            <ac:spMk id="19" creationId="{8D4067B0-97C7-4124-BB62-904984B2F76D}"/>
          </ac:spMkLst>
        </pc:spChg>
        <pc:spChg chg="del">
          <ac:chgData name="LAISSAOUI, Ghita" userId="ac8a0427-4948-4bf4-bb5c-4b9a41a9bd01" providerId="ADAL" clId="{8C4A23C6-A272-4AE5-87F4-94EB44631B18}" dt="2022-01-28T16:17:30.043" v="7500" actId="478"/>
          <ac:spMkLst>
            <pc:docMk/>
            <pc:sldMk cId="3782416445" sldId="2147229411"/>
            <ac:spMk id="20" creationId="{D819D75E-6990-42A0-B121-2D5D4C647E60}"/>
          </ac:spMkLst>
        </pc:spChg>
        <pc:spChg chg="add mod">
          <ac:chgData name="LAISSAOUI, Ghita" userId="ac8a0427-4948-4bf4-bb5c-4b9a41a9bd01" providerId="ADAL" clId="{8C4A23C6-A272-4AE5-87F4-94EB44631B18}" dt="2022-01-28T16:20:49.583" v="7591" actId="1076"/>
          <ac:spMkLst>
            <pc:docMk/>
            <pc:sldMk cId="3782416445" sldId="2147229411"/>
            <ac:spMk id="22" creationId="{DAFE4D66-5659-47F5-B98A-792E82C434E2}"/>
          </ac:spMkLst>
        </pc:spChg>
        <pc:spChg chg="mod">
          <ac:chgData name="LAISSAOUI, Ghita" userId="ac8a0427-4948-4bf4-bb5c-4b9a41a9bd01" providerId="ADAL" clId="{8C4A23C6-A272-4AE5-87F4-94EB44631B18}" dt="2022-01-28T16:17:17.068" v="7499" actId="20577"/>
          <ac:spMkLst>
            <pc:docMk/>
            <pc:sldMk cId="3782416445" sldId="2147229411"/>
            <ac:spMk id="983" creationId="{00000000-0000-0000-0000-000000000000}"/>
          </ac:spMkLst>
        </pc:spChg>
        <pc:picChg chg="del">
          <ac:chgData name="LAISSAOUI, Ghita" userId="ac8a0427-4948-4bf4-bb5c-4b9a41a9bd01" providerId="ADAL" clId="{8C4A23C6-A272-4AE5-87F4-94EB44631B18}" dt="2022-01-28T16:17:30.043" v="7500" actId="478"/>
          <ac:picMkLst>
            <pc:docMk/>
            <pc:sldMk cId="3782416445" sldId="2147229411"/>
            <ac:picMk id="15" creationId="{0B87BF20-C81E-4A44-BC37-FD21E1140A16}"/>
          </ac:picMkLst>
        </pc:picChg>
        <pc:picChg chg="del">
          <ac:chgData name="LAISSAOUI, Ghita" userId="ac8a0427-4948-4bf4-bb5c-4b9a41a9bd01" providerId="ADAL" clId="{8C4A23C6-A272-4AE5-87F4-94EB44631B18}" dt="2022-01-28T16:17:30.043" v="7500" actId="478"/>
          <ac:picMkLst>
            <pc:docMk/>
            <pc:sldMk cId="3782416445" sldId="2147229411"/>
            <ac:picMk id="17" creationId="{E26BF0C9-2FBE-4DD8-A565-DDC653742C3B}"/>
          </ac:picMkLst>
        </pc:picChg>
        <pc:picChg chg="del">
          <ac:chgData name="LAISSAOUI, Ghita" userId="ac8a0427-4948-4bf4-bb5c-4b9a41a9bd01" providerId="ADAL" clId="{8C4A23C6-A272-4AE5-87F4-94EB44631B18}" dt="2022-01-28T16:17:30.043" v="7500" actId="478"/>
          <ac:picMkLst>
            <pc:docMk/>
            <pc:sldMk cId="3782416445" sldId="2147229411"/>
            <ac:picMk id="18" creationId="{C3CCBA26-9136-4D34-8CA8-8FC0C7367AB0}"/>
          </ac:picMkLst>
        </pc:picChg>
        <pc:picChg chg="del">
          <ac:chgData name="LAISSAOUI, Ghita" userId="ac8a0427-4948-4bf4-bb5c-4b9a41a9bd01" providerId="ADAL" clId="{8C4A23C6-A272-4AE5-87F4-94EB44631B18}" dt="2022-01-28T16:17:30.043" v="7500" actId="478"/>
          <ac:picMkLst>
            <pc:docMk/>
            <pc:sldMk cId="3782416445" sldId="2147229411"/>
            <ac:picMk id="21" creationId="{E4B95FBE-39BE-44EF-830B-68A8343A558C}"/>
          </ac:picMkLst>
        </pc:picChg>
      </pc:sldChg>
      <pc:sldChg chg="addSp delSp modSp add mod">
        <pc:chgData name="LAISSAOUI, Ghita" userId="ac8a0427-4948-4bf4-bb5c-4b9a41a9bd01" providerId="ADAL" clId="{8C4A23C6-A272-4AE5-87F4-94EB44631B18}" dt="2022-01-31T07:12:06.963" v="8171" actId="1076"/>
        <pc:sldMkLst>
          <pc:docMk/>
          <pc:sldMk cId="2548310713" sldId="2147229412"/>
        </pc:sldMkLst>
        <pc:spChg chg="add del mod">
          <ac:chgData name="LAISSAOUI, Ghita" userId="ac8a0427-4948-4bf4-bb5c-4b9a41a9bd01" providerId="ADAL" clId="{8C4A23C6-A272-4AE5-87F4-94EB44631B18}" dt="2022-01-28T16:34:53.151" v="7628" actId="478"/>
          <ac:spMkLst>
            <pc:docMk/>
            <pc:sldMk cId="2548310713" sldId="2147229412"/>
            <ac:spMk id="5" creationId="{307A1D83-257D-4280-9177-E20A6B355F8A}"/>
          </ac:spMkLst>
        </pc:spChg>
        <pc:spChg chg="del">
          <ac:chgData name="LAISSAOUI, Ghita" userId="ac8a0427-4948-4bf4-bb5c-4b9a41a9bd01" providerId="ADAL" clId="{8C4A23C6-A272-4AE5-87F4-94EB44631B18}" dt="2022-01-28T16:18:28.229" v="7532" actId="478"/>
          <ac:spMkLst>
            <pc:docMk/>
            <pc:sldMk cId="2548310713" sldId="2147229412"/>
            <ac:spMk id="13" creationId="{9C34B219-712F-4B6E-8986-4DEF2E4DA995}"/>
          </ac:spMkLst>
        </pc:spChg>
        <pc:spChg chg="mod">
          <ac:chgData name="LAISSAOUI, Ghita" userId="ac8a0427-4948-4bf4-bb5c-4b9a41a9bd01" providerId="ADAL" clId="{8C4A23C6-A272-4AE5-87F4-94EB44631B18}" dt="2022-01-28T16:18:20.003" v="7531" actId="20577"/>
          <ac:spMkLst>
            <pc:docMk/>
            <pc:sldMk cId="2548310713" sldId="2147229412"/>
            <ac:spMk id="983" creationId="{00000000-0000-0000-0000-000000000000}"/>
          </ac:spMkLst>
        </pc:spChg>
        <pc:graphicFrameChg chg="add del mod">
          <ac:chgData name="LAISSAOUI, Ghita" userId="ac8a0427-4948-4bf4-bb5c-4b9a41a9bd01" providerId="ADAL" clId="{8C4A23C6-A272-4AE5-87F4-94EB44631B18}" dt="2022-01-31T07:11:55.635" v="8170" actId="478"/>
          <ac:graphicFrameMkLst>
            <pc:docMk/>
            <pc:sldMk cId="2548310713" sldId="2147229412"/>
            <ac:graphicFrameMk id="6" creationId="{1A74271E-67DE-41DB-B0AB-A76C2D49FC00}"/>
          </ac:graphicFrameMkLst>
        </pc:graphicFrameChg>
        <pc:graphicFrameChg chg="add mod">
          <ac:chgData name="LAISSAOUI, Ghita" userId="ac8a0427-4948-4bf4-bb5c-4b9a41a9bd01" providerId="ADAL" clId="{8C4A23C6-A272-4AE5-87F4-94EB44631B18}" dt="2022-01-31T07:12:06.963" v="8171" actId="1076"/>
          <ac:graphicFrameMkLst>
            <pc:docMk/>
            <pc:sldMk cId="2548310713" sldId="2147229412"/>
            <ac:graphicFrameMk id="10" creationId="{643355ED-3E27-458C-ADF3-53A66A1B287C}"/>
          </ac:graphicFrameMkLst>
        </pc:graphicFrameChg>
        <pc:picChg chg="add del mod">
          <ac:chgData name="LAISSAOUI, Ghita" userId="ac8a0427-4948-4bf4-bb5c-4b9a41a9bd01" providerId="ADAL" clId="{8C4A23C6-A272-4AE5-87F4-94EB44631B18}" dt="2022-01-31T07:11:55.635" v="8170" actId="478"/>
          <ac:picMkLst>
            <pc:docMk/>
            <pc:sldMk cId="2548310713" sldId="2147229412"/>
            <ac:picMk id="5" creationId="{70A50D0C-30A2-4D30-89CB-9947BCEBA29D}"/>
          </ac:picMkLst>
        </pc:picChg>
        <pc:picChg chg="add del mod">
          <ac:chgData name="LAISSAOUI, Ghita" userId="ac8a0427-4948-4bf4-bb5c-4b9a41a9bd01" providerId="ADAL" clId="{8C4A23C6-A272-4AE5-87F4-94EB44631B18}" dt="2022-01-31T07:04:02.270" v="8076" actId="478"/>
          <ac:picMkLst>
            <pc:docMk/>
            <pc:sldMk cId="2548310713" sldId="2147229412"/>
            <ac:picMk id="7" creationId="{5F498B4E-A77D-4587-A414-0752438C109D}"/>
          </ac:picMkLst>
        </pc:picChg>
        <pc:picChg chg="add del mod">
          <ac:chgData name="LAISSAOUI, Ghita" userId="ac8a0427-4948-4bf4-bb5c-4b9a41a9bd01" providerId="ADAL" clId="{8C4A23C6-A272-4AE5-87F4-94EB44631B18}" dt="2022-01-31T07:04:04.060" v="8077" actId="478"/>
          <ac:picMkLst>
            <pc:docMk/>
            <pc:sldMk cId="2548310713" sldId="2147229412"/>
            <ac:picMk id="9" creationId="{7316BDF5-6143-461F-925F-E0310F9E681B}"/>
          </ac:picMkLst>
        </pc:picChg>
        <pc:picChg chg="add mod">
          <ac:chgData name="LAISSAOUI, Ghita" userId="ac8a0427-4948-4bf4-bb5c-4b9a41a9bd01" providerId="ADAL" clId="{8C4A23C6-A272-4AE5-87F4-94EB44631B18}" dt="2022-01-31T07:12:06.963" v="8171" actId="1076"/>
          <ac:picMkLst>
            <pc:docMk/>
            <pc:sldMk cId="2548310713" sldId="2147229412"/>
            <ac:picMk id="11" creationId="{8F6AD7CF-278A-4320-AB51-FCC078AA2CC4}"/>
          </ac:picMkLst>
        </pc:picChg>
      </pc:sldChg>
      <pc:sldChg chg="add del">
        <pc:chgData name="LAISSAOUI, Ghita" userId="ac8a0427-4948-4bf4-bb5c-4b9a41a9bd01" providerId="ADAL" clId="{8C4A23C6-A272-4AE5-87F4-94EB44631B18}" dt="2022-01-28T16:18:50.905" v="7537" actId="47"/>
        <pc:sldMkLst>
          <pc:docMk/>
          <pc:sldMk cId="842661543" sldId="2147229413"/>
        </pc:sldMkLst>
      </pc:sldChg>
      <pc:sldChg chg="addSp delSp modSp add mod">
        <pc:chgData name="LAISSAOUI, Ghita" userId="ac8a0427-4948-4bf4-bb5c-4b9a41a9bd01" providerId="ADAL" clId="{8C4A23C6-A272-4AE5-87F4-94EB44631B18}" dt="2022-01-28T16:19:20.434" v="7577"/>
        <pc:sldMkLst>
          <pc:docMk/>
          <pc:sldMk cId="3665686530" sldId="2147229413"/>
        </pc:sldMkLst>
        <pc:spChg chg="del">
          <ac:chgData name="LAISSAOUI, Ghita" userId="ac8a0427-4948-4bf4-bb5c-4b9a41a9bd01" providerId="ADAL" clId="{8C4A23C6-A272-4AE5-87F4-94EB44631B18}" dt="2022-01-28T16:19:20.193" v="7576" actId="478"/>
          <ac:spMkLst>
            <pc:docMk/>
            <pc:sldMk cId="3665686530" sldId="2147229413"/>
            <ac:spMk id="5" creationId="{307A1D83-257D-4280-9177-E20A6B355F8A}"/>
          </ac:spMkLst>
        </pc:spChg>
        <pc:spChg chg="add mod">
          <ac:chgData name="LAISSAOUI, Ghita" userId="ac8a0427-4948-4bf4-bb5c-4b9a41a9bd01" providerId="ADAL" clId="{8C4A23C6-A272-4AE5-87F4-94EB44631B18}" dt="2022-01-28T16:19:20.434" v="7577"/>
          <ac:spMkLst>
            <pc:docMk/>
            <pc:sldMk cId="3665686530" sldId="2147229413"/>
            <ac:spMk id="6" creationId="{1B2BCC9A-A710-46AA-8545-3BF4858A0C07}"/>
          </ac:spMkLst>
        </pc:spChg>
        <pc:spChg chg="mod">
          <ac:chgData name="LAISSAOUI, Ghita" userId="ac8a0427-4948-4bf4-bb5c-4b9a41a9bd01" providerId="ADAL" clId="{8C4A23C6-A272-4AE5-87F4-94EB44631B18}" dt="2022-01-28T16:19:10.629" v="7575" actId="20577"/>
          <ac:spMkLst>
            <pc:docMk/>
            <pc:sldMk cId="3665686530" sldId="2147229413"/>
            <ac:spMk id="983" creationId="{00000000-0000-0000-0000-000000000000}"/>
          </ac:spMkLst>
        </pc:spChg>
      </pc:sldChg>
      <pc:sldChg chg="modSp add del mod">
        <pc:chgData name="LAISSAOUI, Ghita" userId="ac8a0427-4948-4bf4-bb5c-4b9a41a9bd01" providerId="ADAL" clId="{8C4A23C6-A272-4AE5-87F4-94EB44631B18}" dt="2022-01-31T06:43:49.628" v="7670" actId="47"/>
        <pc:sldMkLst>
          <pc:docMk/>
          <pc:sldMk cId="4271005921" sldId="2147229414"/>
        </pc:sldMkLst>
        <pc:spChg chg="mod">
          <ac:chgData name="LAISSAOUI, Ghita" userId="ac8a0427-4948-4bf4-bb5c-4b9a41a9bd01" providerId="ADAL" clId="{8C4A23C6-A272-4AE5-87F4-94EB44631B18}" dt="2022-01-31T06:42:37.374" v="7657" actId="207"/>
          <ac:spMkLst>
            <pc:docMk/>
            <pc:sldMk cId="4271005921" sldId="2147229414"/>
            <ac:spMk id="6" creationId="{E627C5CD-D4A0-4D2A-9325-05E9E46BEE56}"/>
          </ac:spMkLst>
        </pc:spChg>
      </pc:sldChg>
      <pc:sldChg chg="addSp delSp modSp new mod">
        <pc:chgData name="LAISSAOUI, Ghita" userId="ac8a0427-4948-4bf4-bb5c-4b9a41a9bd01" providerId="ADAL" clId="{8C4A23C6-A272-4AE5-87F4-94EB44631B18}" dt="2022-01-31T06:49:43.458" v="7701" actId="478"/>
        <pc:sldMkLst>
          <pc:docMk/>
          <pc:sldMk cId="3931396647" sldId="2147229415"/>
        </pc:sldMkLst>
        <pc:spChg chg="add del mod">
          <ac:chgData name="LAISSAOUI, Ghita" userId="ac8a0427-4948-4bf4-bb5c-4b9a41a9bd01" providerId="ADAL" clId="{8C4A23C6-A272-4AE5-87F4-94EB44631B18}" dt="2022-01-31T06:41:26.929" v="7643"/>
          <ac:spMkLst>
            <pc:docMk/>
            <pc:sldMk cId="3931396647" sldId="2147229415"/>
            <ac:spMk id="3" creationId="{21D3CD4E-4F2F-4E1E-BE5E-D3E2D4DE17A5}"/>
          </ac:spMkLst>
        </pc:spChg>
        <pc:spChg chg="add del mod">
          <ac:chgData name="LAISSAOUI, Ghita" userId="ac8a0427-4948-4bf4-bb5c-4b9a41a9bd01" providerId="ADAL" clId="{8C4A23C6-A272-4AE5-87F4-94EB44631B18}" dt="2022-01-31T06:41:26.929" v="7643"/>
          <ac:spMkLst>
            <pc:docMk/>
            <pc:sldMk cId="3931396647" sldId="2147229415"/>
            <ac:spMk id="4" creationId="{D1DB8E66-A8F1-4D7F-A2BC-694313C18953}"/>
          </ac:spMkLst>
        </pc:spChg>
        <pc:spChg chg="add del mod">
          <ac:chgData name="LAISSAOUI, Ghita" userId="ac8a0427-4948-4bf4-bb5c-4b9a41a9bd01" providerId="ADAL" clId="{8C4A23C6-A272-4AE5-87F4-94EB44631B18}" dt="2022-01-31T06:41:34.032" v="7651"/>
          <ac:spMkLst>
            <pc:docMk/>
            <pc:sldMk cId="3931396647" sldId="2147229415"/>
            <ac:spMk id="5" creationId="{B7DF35FD-2DD2-4DC8-9802-8701DD2ED63A}"/>
          </ac:spMkLst>
        </pc:spChg>
        <pc:spChg chg="add del mod">
          <ac:chgData name="LAISSAOUI, Ghita" userId="ac8a0427-4948-4bf4-bb5c-4b9a41a9bd01" providerId="ADAL" clId="{8C4A23C6-A272-4AE5-87F4-94EB44631B18}" dt="2022-01-31T06:41:34.032" v="7651"/>
          <ac:spMkLst>
            <pc:docMk/>
            <pc:sldMk cId="3931396647" sldId="2147229415"/>
            <ac:spMk id="6" creationId="{50554F24-CBD7-4032-9D5B-C2A327C2ECB5}"/>
          </ac:spMkLst>
        </pc:spChg>
        <pc:spChg chg="add mod">
          <ac:chgData name="LAISSAOUI, Ghita" userId="ac8a0427-4948-4bf4-bb5c-4b9a41a9bd01" providerId="ADAL" clId="{8C4A23C6-A272-4AE5-87F4-94EB44631B18}" dt="2022-01-31T06:43:22.155" v="7665" actId="164"/>
          <ac:spMkLst>
            <pc:docMk/>
            <pc:sldMk cId="3931396647" sldId="2147229415"/>
            <ac:spMk id="7" creationId="{97B9017D-0426-439E-BF1D-839B41492947}"/>
          </ac:spMkLst>
        </pc:spChg>
        <pc:spChg chg="add mod">
          <ac:chgData name="LAISSAOUI, Ghita" userId="ac8a0427-4948-4bf4-bb5c-4b9a41a9bd01" providerId="ADAL" clId="{8C4A23C6-A272-4AE5-87F4-94EB44631B18}" dt="2022-01-31T06:43:22.155" v="7665" actId="164"/>
          <ac:spMkLst>
            <pc:docMk/>
            <pc:sldMk cId="3931396647" sldId="2147229415"/>
            <ac:spMk id="8" creationId="{3C0BE979-B0BF-477E-8C4A-17FB5793C8F7}"/>
          </ac:spMkLst>
        </pc:spChg>
        <pc:spChg chg="add mod ord">
          <ac:chgData name="LAISSAOUI, Ghita" userId="ac8a0427-4948-4bf4-bb5c-4b9a41a9bd01" providerId="ADAL" clId="{8C4A23C6-A272-4AE5-87F4-94EB44631B18}" dt="2022-01-31T06:43:22.155" v="7665" actId="164"/>
          <ac:spMkLst>
            <pc:docMk/>
            <pc:sldMk cId="3931396647" sldId="2147229415"/>
            <ac:spMk id="9" creationId="{FE465DC0-0AE6-4084-A721-039B950BBCD7}"/>
          </ac:spMkLst>
        </pc:spChg>
        <pc:spChg chg="add del mod">
          <ac:chgData name="LAISSAOUI, Ghita" userId="ac8a0427-4948-4bf4-bb5c-4b9a41a9bd01" providerId="ADAL" clId="{8C4A23C6-A272-4AE5-87F4-94EB44631B18}" dt="2022-01-31T06:43:36.408" v="7667"/>
          <ac:spMkLst>
            <pc:docMk/>
            <pc:sldMk cId="3931396647" sldId="2147229415"/>
            <ac:spMk id="11" creationId="{8461E666-EB29-43E1-AD1B-3BFF9CD063CD}"/>
          </ac:spMkLst>
        </pc:spChg>
        <pc:spChg chg="add del mod">
          <ac:chgData name="LAISSAOUI, Ghita" userId="ac8a0427-4948-4bf4-bb5c-4b9a41a9bd01" providerId="ADAL" clId="{8C4A23C6-A272-4AE5-87F4-94EB44631B18}" dt="2022-01-31T06:49:43.458" v="7701" actId="478"/>
          <ac:spMkLst>
            <pc:docMk/>
            <pc:sldMk cId="3931396647" sldId="2147229415"/>
            <ac:spMk id="12" creationId="{4E939327-1678-44F9-B3F3-671FEA5FEDCD}"/>
          </ac:spMkLst>
        </pc:spChg>
        <pc:grpChg chg="add mod">
          <ac:chgData name="LAISSAOUI, Ghita" userId="ac8a0427-4948-4bf4-bb5c-4b9a41a9bd01" providerId="ADAL" clId="{8C4A23C6-A272-4AE5-87F4-94EB44631B18}" dt="2022-01-31T06:43:22.155" v="7665" actId="164"/>
          <ac:grpSpMkLst>
            <pc:docMk/>
            <pc:sldMk cId="3931396647" sldId="2147229415"/>
            <ac:grpSpMk id="10" creationId="{6054F015-AA7D-439A-B2F5-C0BDDA7D93A1}"/>
          </ac:grpSpMkLst>
        </pc:grpChg>
        <pc:picChg chg="add mod">
          <ac:chgData name="LAISSAOUI, Ghita" userId="ac8a0427-4948-4bf4-bb5c-4b9a41a9bd01" providerId="ADAL" clId="{8C4A23C6-A272-4AE5-87F4-94EB44631B18}" dt="2022-01-31T06:43:22.155" v="7665" actId="164"/>
          <ac:picMkLst>
            <pc:docMk/>
            <pc:sldMk cId="3931396647" sldId="2147229415"/>
            <ac:picMk id="2" creationId="{9644BA3F-6BA8-4ED7-938D-CAAD81AFB75E}"/>
          </ac:picMkLst>
        </pc:picChg>
        <pc:picChg chg="add mod">
          <ac:chgData name="LAISSAOUI, Ghita" userId="ac8a0427-4948-4bf4-bb5c-4b9a41a9bd01" providerId="ADAL" clId="{8C4A23C6-A272-4AE5-87F4-94EB44631B18}" dt="2022-01-31T06:44:32.237" v="7676"/>
          <ac:picMkLst>
            <pc:docMk/>
            <pc:sldMk cId="3931396647" sldId="2147229415"/>
            <ac:picMk id="13" creationId="{6E2522EF-7DB5-415B-A1B6-026F6BDB8F38}"/>
          </ac:picMkLst>
        </pc:picChg>
        <pc:picChg chg="add mod">
          <ac:chgData name="LAISSAOUI, Ghita" userId="ac8a0427-4948-4bf4-bb5c-4b9a41a9bd01" providerId="ADAL" clId="{8C4A23C6-A272-4AE5-87F4-94EB44631B18}" dt="2022-01-31T06:44:32.237" v="7676"/>
          <ac:picMkLst>
            <pc:docMk/>
            <pc:sldMk cId="3931396647" sldId="2147229415"/>
            <ac:picMk id="14" creationId="{0C3FF001-5BA0-48AF-BC04-772148B08212}"/>
          </ac:picMkLst>
        </pc:picChg>
        <pc:picChg chg="add mod">
          <ac:chgData name="LAISSAOUI, Ghita" userId="ac8a0427-4948-4bf4-bb5c-4b9a41a9bd01" providerId="ADAL" clId="{8C4A23C6-A272-4AE5-87F4-94EB44631B18}" dt="2022-01-31T06:44:42.869" v="7677" actId="1076"/>
          <ac:picMkLst>
            <pc:docMk/>
            <pc:sldMk cId="3931396647" sldId="2147229415"/>
            <ac:picMk id="15" creationId="{01B5BB71-BEB3-454D-B2A7-DD63BE81DE17}"/>
          </ac:picMkLst>
        </pc:picChg>
      </pc:sldChg>
      <pc:sldChg chg="add">
        <pc:chgData name="LAISSAOUI, Ghita" userId="ac8a0427-4948-4bf4-bb5c-4b9a41a9bd01" providerId="ADAL" clId="{8C4A23C6-A272-4AE5-87F4-94EB44631B18}" dt="2022-01-31T06:49:39.746" v="7700"/>
        <pc:sldMkLst>
          <pc:docMk/>
          <pc:sldMk cId="2498283456" sldId="2147229416"/>
        </pc:sldMkLst>
      </pc:sldChg>
      <pc:sldChg chg="modSp add mod">
        <pc:chgData name="LAISSAOUI, Ghita" userId="ac8a0427-4948-4bf4-bb5c-4b9a41a9bd01" providerId="ADAL" clId="{8C4A23C6-A272-4AE5-87F4-94EB44631B18}" dt="2022-01-31T06:50:39.409" v="7740" actId="14100"/>
        <pc:sldMkLst>
          <pc:docMk/>
          <pc:sldMk cId="4077467553" sldId="2147229417"/>
        </pc:sldMkLst>
        <pc:spChg chg="mod">
          <ac:chgData name="LAISSAOUI, Ghita" userId="ac8a0427-4948-4bf4-bb5c-4b9a41a9bd01" providerId="ADAL" clId="{8C4A23C6-A272-4AE5-87F4-94EB44631B18}" dt="2022-01-31T06:50:39.409" v="7740" actId="14100"/>
          <ac:spMkLst>
            <pc:docMk/>
            <pc:sldMk cId="4077467553" sldId="2147229417"/>
            <ac:spMk id="12" creationId="{4E939327-1678-44F9-B3F3-671FEA5FEDCD}"/>
          </ac:spMkLst>
        </pc:spChg>
      </pc:sldChg>
      <pc:sldChg chg="addSp delSp modSp add mod">
        <pc:chgData name="LAISSAOUI, Ghita" userId="ac8a0427-4948-4bf4-bb5c-4b9a41a9bd01" providerId="ADAL" clId="{8C4A23C6-A272-4AE5-87F4-94EB44631B18}" dt="2022-01-31T06:52:02.654" v="7809" actId="1035"/>
        <pc:sldMkLst>
          <pc:docMk/>
          <pc:sldMk cId="1721120685" sldId="2147229418"/>
        </pc:sldMkLst>
        <pc:spChg chg="add mod">
          <ac:chgData name="LAISSAOUI, Ghita" userId="ac8a0427-4948-4bf4-bb5c-4b9a41a9bd01" providerId="ADAL" clId="{8C4A23C6-A272-4AE5-87F4-94EB44631B18}" dt="2022-01-31T06:52:02.654" v="7809" actId="1035"/>
          <ac:spMkLst>
            <pc:docMk/>
            <pc:sldMk cId="1721120685" sldId="2147229418"/>
            <ac:spMk id="11" creationId="{43E4CF7A-F6D7-48C1-9524-5AFBA0BA107F}"/>
          </ac:spMkLst>
        </pc:spChg>
        <pc:spChg chg="del">
          <ac:chgData name="LAISSAOUI, Ghita" userId="ac8a0427-4948-4bf4-bb5c-4b9a41a9bd01" providerId="ADAL" clId="{8C4A23C6-A272-4AE5-87F4-94EB44631B18}" dt="2022-01-31T06:51:46.321" v="7796" actId="478"/>
          <ac:spMkLst>
            <pc:docMk/>
            <pc:sldMk cId="1721120685" sldId="2147229418"/>
            <ac:spMk id="12" creationId="{4E939327-1678-44F9-B3F3-671FEA5FEDCD}"/>
          </ac:spMkLst>
        </pc:spChg>
      </pc:sldChg>
      <pc:sldChg chg="modSp add mod">
        <pc:chgData name="LAISSAOUI, Ghita" userId="ac8a0427-4948-4bf4-bb5c-4b9a41a9bd01" providerId="ADAL" clId="{8C4A23C6-A272-4AE5-87F4-94EB44631B18}" dt="2022-01-31T06:52:29.570" v="7848" actId="1036"/>
        <pc:sldMkLst>
          <pc:docMk/>
          <pc:sldMk cId="792118489" sldId="2147229419"/>
        </pc:sldMkLst>
        <pc:spChg chg="mod">
          <ac:chgData name="LAISSAOUI, Ghita" userId="ac8a0427-4948-4bf4-bb5c-4b9a41a9bd01" providerId="ADAL" clId="{8C4A23C6-A272-4AE5-87F4-94EB44631B18}" dt="2022-01-31T06:52:29.570" v="7848" actId="1036"/>
          <ac:spMkLst>
            <pc:docMk/>
            <pc:sldMk cId="792118489" sldId="2147229419"/>
            <ac:spMk id="11" creationId="{43E4CF7A-F6D7-48C1-9524-5AFBA0BA107F}"/>
          </ac:spMkLst>
        </pc:spChg>
      </pc:sldChg>
      <pc:sldChg chg="modSp add mod">
        <pc:chgData name="LAISSAOUI, Ghita" userId="ac8a0427-4948-4bf4-bb5c-4b9a41a9bd01" providerId="ADAL" clId="{8C4A23C6-A272-4AE5-87F4-94EB44631B18}" dt="2022-01-31T06:52:53.548" v="7883" actId="1036"/>
        <pc:sldMkLst>
          <pc:docMk/>
          <pc:sldMk cId="3517051284" sldId="2147229420"/>
        </pc:sldMkLst>
        <pc:spChg chg="mod">
          <ac:chgData name="LAISSAOUI, Ghita" userId="ac8a0427-4948-4bf4-bb5c-4b9a41a9bd01" providerId="ADAL" clId="{8C4A23C6-A272-4AE5-87F4-94EB44631B18}" dt="2022-01-31T06:52:53.548" v="7883" actId="1036"/>
          <ac:spMkLst>
            <pc:docMk/>
            <pc:sldMk cId="3517051284" sldId="2147229420"/>
            <ac:spMk id="11" creationId="{43E4CF7A-F6D7-48C1-9524-5AFBA0BA107F}"/>
          </ac:spMkLst>
        </pc:spChg>
      </pc:sldChg>
      <pc:sldChg chg="modSp new del mod">
        <pc:chgData name="LAISSAOUI, Ghita" userId="ac8a0427-4948-4bf4-bb5c-4b9a41a9bd01" providerId="ADAL" clId="{8C4A23C6-A272-4AE5-87F4-94EB44631B18}" dt="2022-01-31T09:21:57.830" v="8946" actId="47"/>
        <pc:sldMkLst>
          <pc:docMk/>
          <pc:sldMk cId="639410547" sldId="2147229421"/>
        </pc:sldMkLst>
        <pc:spChg chg="mod">
          <ac:chgData name="LAISSAOUI, Ghita" userId="ac8a0427-4948-4bf4-bb5c-4b9a41a9bd01" providerId="ADAL" clId="{8C4A23C6-A272-4AE5-87F4-94EB44631B18}" dt="2022-01-31T08:00:43.115" v="8923" actId="20577"/>
          <ac:spMkLst>
            <pc:docMk/>
            <pc:sldMk cId="639410547" sldId="2147229421"/>
            <ac:spMk id="2" creationId="{F4A31706-5755-4F47-BA5F-A24B5F0A3458}"/>
          </ac:spMkLst>
        </pc:spChg>
        <pc:spChg chg="mod">
          <ac:chgData name="LAISSAOUI, Ghita" userId="ac8a0427-4948-4bf4-bb5c-4b9a41a9bd01" providerId="ADAL" clId="{8C4A23C6-A272-4AE5-87F4-94EB44631B18}" dt="2022-01-31T08:00:39.939" v="8915" actId="20577"/>
          <ac:spMkLst>
            <pc:docMk/>
            <pc:sldMk cId="639410547" sldId="2147229421"/>
            <ac:spMk id="3" creationId="{9CD41AC4-6CBB-41A6-835E-741EABDE3DBC}"/>
          </ac:spMkLst>
        </pc:spChg>
      </pc:sldChg>
      <pc:sldChg chg="addSp delSp modSp add del mod setBg modNotesTx">
        <pc:chgData name="LAISSAOUI, Ghita" userId="ac8a0427-4948-4bf4-bb5c-4b9a41a9bd01" providerId="ADAL" clId="{8C4A23C6-A272-4AE5-87F4-94EB44631B18}" dt="2022-01-31T07:01:01.023" v="8004" actId="47"/>
        <pc:sldMkLst>
          <pc:docMk/>
          <pc:sldMk cId="2902664796" sldId="2147229421"/>
        </pc:sldMkLst>
        <pc:spChg chg="mod">
          <ac:chgData name="LAISSAOUI, Ghita" userId="ac8a0427-4948-4bf4-bb5c-4b9a41a9bd01" providerId="ADAL" clId="{8C4A23C6-A272-4AE5-87F4-94EB44631B18}" dt="2022-01-31T06:56:57.094" v="7935" actId="207"/>
          <ac:spMkLst>
            <pc:docMk/>
            <pc:sldMk cId="2902664796" sldId="2147229421"/>
            <ac:spMk id="2" creationId="{04B57FB0-5661-46A6-AA48-B2225062B1C1}"/>
          </ac:spMkLst>
        </pc:spChg>
        <pc:spChg chg="mod">
          <ac:chgData name="LAISSAOUI, Ghita" userId="ac8a0427-4948-4bf4-bb5c-4b9a41a9bd01" providerId="ADAL" clId="{8C4A23C6-A272-4AE5-87F4-94EB44631B18}" dt="2022-01-31T06:57:04.303" v="7936" actId="207"/>
          <ac:spMkLst>
            <pc:docMk/>
            <pc:sldMk cId="2902664796" sldId="2147229421"/>
            <ac:spMk id="55" creationId="{19924A51-CB07-4D99-9402-057E6D38D45A}"/>
          </ac:spMkLst>
        </pc:spChg>
        <pc:spChg chg="mod">
          <ac:chgData name="LAISSAOUI, Ghita" userId="ac8a0427-4948-4bf4-bb5c-4b9a41a9bd01" providerId="ADAL" clId="{8C4A23C6-A272-4AE5-87F4-94EB44631B18}" dt="2022-01-31T06:56:32.776" v="7932" actId="207"/>
          <ac:spMkLst>
            <pc:docMk/>
            <pc:sldMk cId="2902664796" sldId="2147229421"/>
            <ac:spMk id="56" creationId="{6A33609C-D9E1-4B12-A2FA-2CBAB46F4B82}"/>
          </ac:spMkLst>
        </pc:spChg>
        <pc:spChg chg="del mod">
          <ac:chgData name="LAISSAOUI, Ghita" userId="ac8a0427-4948-4bf4-bb5c-4b9a41a9bd01" providerId="ADAL" clId="{8C4A23C6-A272-4AE5-87F4-94EB44631B18}" dt="2022-01-31T06:57:28.233" v="7941" actId="478"/>
          <ac:spMkLst>
            <pc:docMk/>
            <pc:sldMk cId="2902664796" sldId="2147229421"/>
            <ac:spMk id="58" creationId="{583A0134-130B-41BB-8FDD-80784AF00506}"/>
          </ac:spMkLst>
        </pc:spChg>
        <pc:spChg chg="add mod">
          <ac:chgData name="LAISSAOUI, Ghita" userId="ac8a0427-4948-4bf4-bb5c-4b9a41a9bd01" providerId="ADAL" clId="{8C4A23C6-A272-4AE5-87F4-94EB44631B18}" dt="2022-01-31T06:57:37.821" v="7943" actId="571"/>
          <ac:spMkLst>
            <pc:docMk/>
            <pc:sldMk cId="2902664796" sldId="2147229421"/>
            <ac:spMk id="59" creationId="{30761A0E-964B-4728-8B0D-56194AFE6C98}"/>
          </ac:spMkLst>
        </pc:spChg>
        <pc:spChg chg="mod">
          <ac:chgData name="LAISSAOUI, Ghita" userId="ac8a0427-4948-4bf4-bb5c-4b9a41a9bd01" providerId="ADAL" clId="{8C4A23C6-A272-4AE5-87F4-94EB44631B18}" dt="2022-01-31T06:57:18.135" v="7938" actId="207"/>
          <ac:spMkLst>
            <pc:docMk/>
            <pc:sldMk cId="2902664796" sldId="2147229421"/>
            <ac:spMk id="66" creationId="{2099702B-4A83-44DC-8B28-06B5BED506F3}"/>
          </ac:spMkLst>
        </pc:spChg>
        <pc:spChg chg="add mod">
          <ac:chgData name="LAISSAOUI, Ghita" userId="ac8a0427-4948-4bf4-bb5c-4b9a41a9bd01" providerId="ADAL" clId="{8C4A23C6-A272-4AE5-87F4-94EB44631B18}" dt="2022-01-31T06:57:37.821" v="7943" actId="571"/>
          <ac:spMkLst>
            <pc:docMk/>
            <pc:sldMk cId="2902664796" sldId="2147229421"/>
            <ac:spMk id="67" creationId="{5270B9F1-6A74-4191-BFDF-A99AD285D34E}"/>
          </ac:spMkLst>
        </pc:spChg>
        <pc:spChg chg="add mod">
          <ac:chgData name="LAISSAOUI, Ghita" userId="ac8a0427-4948-4bf4-bb5c-4b9a41a9bd01" providerId="ADAL" clId="{8C4A23C6-A272-4AE5-87F4-94EB44631B18}" dt="2022-01-31T06:57:37.821" v="7943" actId="571"/>
          <ac:spMkLst>
            <pc:docMk/>
            <pc:sldMk cId="2902664796" sldId="2147229421"/>
            <ac:spMk id="68" creationId="{4E7CBE76-480D-4A6A-976E-19EBF1C35358}"/>
          </ac:spMkLst>
        </pc:spChg>
        <pc:spChg chg="add mod">
          <ac:chgData name="LAISSAOUI, Ghita" userId="ac8a0427-4948-4bf4-bb5c-4b9a41a9bd01" providerId="ADAL" clId="{8C4A23C6-A272-4AE5-87F4-94EB44631B18}" dt="2022-01-31T06:57:37.821" v="7943" actId="571"/>
          <ac:spMkLst>
            <pc:docMk/>
            <pc:sldMk cId="2902664796" sldId="2147229421"/>
            <ac:spMk id="69" creationId="{EACDB480-8A6C-44AF-8979-D287D65C16C0}"/>
          </ac:spMkLst>
        </pc:spChg>
        <pc:spChg chg="add mod">
          <ac:chgData name="LAISSAOUI, Ghita" userId="ac8a0427-4948-4bf4-bb5c-4b9a41a9bd01" providerId="ADAL" clId="{8C4A23C6-A272-4AE5-87F4-94EB44631B18}" dt="2022-01-31T06:57:37.821" v="7943" actId="571"/>
          <ac:spMkLst>
            <pc:docMk/>
            <pc:sldMk cId="2902664796" sldId="2147229421"/>
            <ac:spMk id="70" creationId="{24AAA3B4-6198-4223-BD2F-CD8DD16214F7}"/>
          </ac:spMkLst>
        </pc:spChg>
        <pc:spChg chg="add mod">
          <ac:chgData name="LAISSAOUI, Ghita" userId="ac8a0427-4948-4bf4-bb5c-4b9a41a9bd01" providerId="ADAL" clId="{8C4A23C6-A272-4AE5-87F4-94EB44631B18}" dt="2022-01-31T06:57:37.821" v="7943" actId="571"/>
          <ac:spMkLst>
            <pc:docMk/>
            <pc:sldMk cId="2902664796" sldId="2147229421"/>
            <ac:spMk id="72" creationId="{F429C0B1-7061-40B7-BF94-08590EA95A87}"/>
          </ac:spMkLst>
        </pc:spChg>
        <pc:spChg chg="del">
          <ac:chgData name="LAISSAOUI, Ghita" userId="ac8a0427-4948-4bf4-bb5c-4b9a41a9bd01" providerId="ADAL" clId="{8C4A23C6-A272-4AE5-87F4-94EB44631B18}" dt="2022-01-31T06:57:24.682" v="7939" actId="478"/>
          <ac:spMkLst>
            <pc:docMk/>
            <pc:sldMk cId="2902664796" sldId="2147229421"/>
            <ac:spMk id="75" creationId="{0F62D24B-5234-4491-B3C1-199B7A98E228}"/>
          </ac:spMkLst>
        </pc:spChg>
        <pc:spChg chg="mod">
          <ac:chgData name="LAISSAOUI, Ghita" userId="ac8a0427-4948-4bf4-bb5c-4b9a41a9bd01" providerId="ADAL" clId="{8C4A23C6-A272-4AE5-87F4-94EB44631B18}" dt="2022-01-31T06:57:08.801" v="7937" actId="207"/>
          <ac:spMkLst>
            <pc:docMk/>
            <pc:sldMk cId="2902664796" sldId="2147229421"/>
            <ac:spMk id="103" creationId="{5BAE3D2D-03CC-4CB3-8A75-24BF888AD6DB}"/>
          </ac:spMkLst>
        </pc:spChg>
      </pc:sldChg>
      <pc:sldChg chg="addSp modSp add del">
        <pc:chgData name="LAISSAOUI, Ghita" userId="ac8a0427-4948-4bf4-bb5c-4b9a41a9bd01" providerId="ADAL" clId="{8C4A23C6-A272-4AE5-87F4-94EB44631B18}" dt="2022-02-01T14:22:37.624" v="9621" actId="47"/>
        <pc:sldMkLst>
          <pc:docMk/>
          <pc:sldMk cId="702431921" sldId="2147229422"/>
        </pc:sldMkLst>
        <pc:spChg chg="add mod">
          <ac:chgData name="LAISSAOUI, Ghita" userId="ac8a0427-4948-4bf4-bb5c-4b9a41a9bd01" providerId="ADAL" clId="{8C4A23C6-A272-4AE5-87F4-94EB44631B18}" dt="2022-01-31T09:23:34.634" v="8982"/>
          <ac:spMkLst>
            <pc:docMk/>
            <pc:sldMk cId="702431921" sldId="2147229422"/>
            <ac:spMk id="7" creationId="{B8E8B44B-4602-434B-AC10-0EFFFBB8FCCA}"/>
          </ac:spMkLst>
        </pc:spChg>
      </pc:sldChg>
      <pc:sldChg chg="addSp modSp add del">
        <pc:chgData name="LAISSAOUI, Ghita" userId="ac8a0427-4948-4bf4-bb5c-4b9a41a9bd01" providerId="ADAL" clId="{8C4A23C6-A272-4AE5-87F4-94EB44631B18}" dt="2022-02-01T14:22:37.624" v="9621" actId="47"/>
        <pc:sldMkLst>
          <pc:docMk/>
          <pc:sldMk cId="24028588" sldId="2147229423"/>
        </pc:sldMkLst>
        <pc:spChg chg="add mod">
          <ac:chgData name="LAISSAOUI, Ghita" userId="ac8a0427-4948-4bf4-bb5c-4b9a41a9bd01" providerId="ADAL" clId="{8C4A23C6-A272-4AE5-87F4-94EB44631B18}" dt="2022-01-31T09:23:37.197" v="8983"/>
          <ac:spMkLst>
            <pc:docMk/>
            <pc:sldMk cId="24028588" sldId="2147229423"/>
            <ac:spMk id="5" creationId="{EA8C8AB5-48BE-4DB0-8D2D-96C26FBED4CC}"/>
          </ac:spMkLst>
        </pc:spChg>
      </pc:sldChg>
      <pc:sldChg chg="addSp modSp add del">
        <pc:chgData name="LAISSAOUI, Ghita" userId="ac8a0427-4948-4bf4-bb5c-4b9a41a9bd01" providerId="ADAL" clId="{8C4A23C6-A272-4AE5-87F4-94EB44631B18}" dt="2022-02-01T14:22:37.624" v="9621" actId="47"/>
        <pc:sldMkLst>
          <pc:docMk/>
          <pc:sldMk cId="3100689034" sldId="2147229424"/>
        </pc:sldMkLst>
        <pc:spChg chg="add mod">
          <ac:chgData name="LAISSAOUI, Ghita" userId="ac8a0427-4948-4bf4-bb5c-4b9a41a9bd01" providerId="ADAL" clId="{8C4A23C6-A272-4AE5-87F4-94EB44631B18}" dt="2022-01-31T09:23:40.874" v="8984"/>
          <ac:spMkLst>
            <pc:docMk/>
            <pc:sldMk cId="3100689034" sldId="2147229424"/>
            <ac:spMk id="8" creationId="{07CADABB-943B-4E26-9BC4-AABBF17ACC29}"/>
          </ac:spMkLst>
        </pc:spChg>
      </pc:sldChg>
      <pc:sldChg chg="addSp modSp add mod">
        <pc:chgData name="LAISSAOUI, Ghita" userId="ac8a0427-4948-4bf4-bb5c-4b9a41a9bd01" providerId="ADAL" clId="{8C4A23C6-A272-4AE5-87F4-94EB44631B18}" dt="2022-02-01T14:21:47.510" v="9605" actId="1035"/>
        <pc:sldMkLst>
          <pc:docMk/>
          <pc:sldMk cId="2660795044" sldId="2147229430"/>
        </pc:sldMkLst>
        <pc:spChg chg="add mod">
          <ac:chgData name="LAISSAOUI, Ghita" userId="ac8a0427-4948-4bf4-bb5c-4b9a41a9bd01" providerId="ADAL" clId="{8C4A23C6-A272-4AE5-87F4-94EB44631B18}" dt="2022-02-01T14:21:47.510" v="9605" actId="1035"/>
          <ac:spMkLst>
            <pc:docMk/>
            <pc:sldMk cId="2660795044" sldId="2147229430"/>
            <ac:spMk id="6" creationId="{6F6A9610-2326-4046-8029-846822BFC505}"/>
          </ac:spMkLst>
        </pc:spChg>
      </pc:sldChg>
      <pc:sldChg chg="new del">
        <pc:chgData name="LAISSAOUI, Ghita" userId="ac8a0427-4948-4bf4-bb5c-4b9a41a9bd01" providerId="ADAL" clId="{8C4A23C6-A272-4AE5-87F4-94EB44631B18}" dt="2022-02-01T08:33:07.768" v="9327" actId="47"/>
        <pc:sldMkLst>
          <pc:docMk/>
          <pc:sldMk cId="3416121698" sldId="2147229430"/>
        </pc:sldMkLst>
      </pc:sldChg>
      <pc:sldChg chg="addSp modSp add">
        <pc:chgData name="LAISSAOUI, Ghita" userId="ac8a0427-4948-4bf4-bb5c-4b9a41a9bd01" providerId="ADAL" clId="{8C4A23C6-A272-4AE5-87F4-94EB44631B18}" dt="2022-02-01T14:21:50.734" v="9606"/>
        <pc:sldMkLst>
          <pc:docMk/>
          <pc:sldMk cId="3729719854" sldId="2147229431"/>
        </pc:sldMkLst>
        <pc:spChg chg="add mod">
          <ac:chgData name="LAISSAOUI, Ghita" userId="ac8a0427-4948-4bf4-bb5c-4b9a41a9bd01" providerId="ADAL" clId="{8C4A23C6-A272-4AE5-87F4-94EB44631B18}" dt="2022-02-01T14:21:50.734" v="9606"/>
          <ac:spMkLst>
            <pc:docMk/>
            <pc:sldMk cId="3729719854" sldId="2147229431"/>
            <ac:spMk id="6" creationId="{D73C4A8D-64C5-4F54-8093-F89DA9D51474}"/>
          </ac:spMkLst>
        </pc:spChg>
      </pc:sldChg>
      <pc:sldChg chg="addSp modSp add">
        <pc:chgData name="LAISSAOUI, Ghita" userId="ac8a0427-4948-4bf4-bb5c-4b9a41a9bd01" providerId="ADAL" clId="{8C4A23C6-A272-4AE5-87F4-94EB44631B18}" dt="2022-02-01T14:21:52.221" v="9607"/>
        <pc:sldMkLst>
          <pc:docMk/>
          <pc:sldMk cId="142916459" sldId="2147229432"/>
        </pc:sldMkLst>
        <pc:spChg chg="add mod">
          <ac:chgData name="LAISSAOUI, Ghita" userId="ac8a0427-4948-4bf4-bb5c-4b9a41a9bd01" providerId="ADAL" clId="{8C4A23C6-A272-4AE5-87F4-94EB44631B18}" dt="2022-02-01T14:21:52.221" v="9607"/>
          <ac:spMkLst>
            <pc:docMk/>
            <pc:sldMk cId="142916459" sldId="2147229432"/>
            <ac:spMk id="7" creationId="{0ABE7C02-8DD1-46A9-9E1C-DC0F405510BD}"/>
          </ac:spMkLst>
        </pc:spChg>
      </pc:sldChg>
      <pc:sldChg chg="addSp modSp add">
        <pc:chgData name="LAISSAOUI, Ghita" userId="ac8a0427-4948-4bf4-bb5c-4b9a41a9bd01" providerId="ADAL" clId="{8C4A23C6-A272-4AE5-87F4-94EB44631B18}" dt="2022-02-01T14:21:58.280" v="9609"/>
        <pc:sldMkLst>
          <pc:docMk/>
          <pc:sldMk cId="2409347362" sldId="2147229433"/>
        </pc:sldMkLst>
        <pc:spChg chg="add mod">
          <ac:chgData name="LAISSAOUI, Ghita" userId="ac8a0427-4948-4bf4-bb5c-4b9a41a9bd01" providerId="ADAL" clId="{8C4A23C6-A272-4AE5-87F4-94EB44631B18}" dt="2022-02-01T14:21:58.280" v="9609"/>
          <ac:spMkLst>
            <pc:docMk/>
            <pc:sldMk cId="2409347362" sldId="2147229433"/>
            <ac:spMk id="5" creationId="{AD3AABFE-E8CB-48C2-BA9D-CDAF4A4A8510}"/>
          </ac:spMkLst>
        </pc:spChg>
      </pc:sldChg>
      <pc:sldChg chg="addSp modSp add">
        <pc:chgData name="LAISSAOUI, Ghita" userId="ac8a0427-4948-4bf4-bb5c-4b9a41a9bd01" providerId="ADAL" clId="{8C4A23C6-A272-4AE5-87F4-94EB44631B18}" dt="2022-02-01T14:22:02.256" v="9610"/>
        <pc:sldMkLst>
          <pc:docMk/>
          <pc:sldMk cId="1402139021" sldId="2147229434"/>
        </pc:sldMkLst>
        <pc:spChg chg="add mod">
          <ac:chgData name="LAISSAOUI, Ghita" userId="ac8a0427-4948-4bf4-bb5c-4b9a41a9bd01" providerId="ADAL" clId="{8C4A23C6-A272-4AE5-87F4-94EB44631B18}" dt="2022-02-01T14:22:02.256" v="9610"/>
          <ac:spMkLst>
            <pc:docMk/>
            <pc:sldMk cId="1402139021" sldId="2147229434"/>
            <ac:spMk id="8" creationId="{C767D4DB-C5DA-4D16-BD81-700DA1B49D17}"/>
          </ac:spMkLst>
        </pc:spChg>
      </pc:sldChg>
      <pc:sldChg chg="addSp modSp add">
        <pc:chgData name="LAISSAOUI, Ghita" userId="ac8a0427-4948-4bf4-bb5c-4b9a41a9bd01" providerId="ADAL" clId="{8C4A23C6-A272-4AE5-87F4-94EB44631B18}" dt="2022-02-01T14:22:04.429" v="9611"/>
        <pc:sldMkLst>
          <pc:docMk/>
          <pc:sldMk cId="455876211" sldId="2147229435"/>
        </pc:sldMkLst>
        <pc:spChg chg="add mod">
          <ac:chgData name="LAISSAOUI, Ghita" userId="ac8a0427-4948-4bf4-bb5c-4b9a41a9bd01" providerId="ADAL" clId="{8C4A23C6-A272-4AE5-87F4-94EB44631B18}" dt="2022-02-01T14:22:04.429" v="9611"/>
          <ac:spMkLst>
            <pc:docMk/>
            <pc:sldMk cId="455876211" sldId="2147229435"/>
            <ac:spMk id="6" creationId="{CF56BA7C-6CB1-4AFD-80C9-58B37897ACA6}"/>
          </ac:spMkLst>
        </pc:spChg>
      </pc:sldChg>
      <pc:sldChg chg="addSp modSp add">
        <pc:chgData name="LAISSAOUI, Ghita" userId="ac8a0427-4948-4bf4-bb5c-4b9a41a9bd01" providerId="ADAL" clId="{8C4A23C6-A272-4AE5-87F4-94EB44631B18}" dt="2022-02-01T14:22:07.917" v="9613"/>
        <pc:sldMkLst>
          <pc:docMk/>
          <pc:sldMk cId="3361191559" sldId="2147229436"/>
        </pc:sldMkLst>
        <pc:spChg chg="add mod">
          <ac:chgData name="LAISSAOUI, Ghita" userId="ac8a0427-4948-4bf4-bb5c-4b9a41a9bd01" providerId="ADAL" clId="{8C4A23C6-A272-4AE5-87F4-94EB44631B18}" dt="2022-02-01T14:22:07.917" v="9613"/>
          <ac:spMkLst>
            <pc:docMk/>
            <pc:sldMk cId="3361191559" sldId="2147229436"/>
            <ac:spMk id="5" creationId="{352DBB27-250B-4ECA-B5C4-19E7ADED6563}"/>
          </ac:spMkLst>
        </pc:spChg>
      </pc:sldChg>
      <pc:sldChg chg="addSp modSp add">
        <pc:chgData name="LAISSAOUI, Ghita" userId="ac8a0427-4948-4bf4-bb5c-4b9a41a9bd01" providerId="ADAL" clId="{8C4A23C6-A272-4AE5-87F4-94EB44631B18}" dt="2022-02-01T14:22:09.722" v="9614"/>
        <pc:sldMkLst>
          <pc:docMk/>
          <pc:sldMk cId="3460592649" sldId="2147229437"/>
        </pc:sldMkLst>
        <pc:spChg chg="add mod">
          <ac:chgData name="LAISSAOUI, Ghita" userId="ac8a0427-4948-4bf4-bb5c-4b9a41a9bd01" providerId="ADAL" clId="{8C4A23C6-A272-4AE5-87F4-94EB44631B18}" dt="2022-02-01T14:22:09.722" v="9614"/>
          <ac:spMkLst>
            <pc:docMk/>
            <pc:sldMk cId="3460592649" sldId="2147229437"/>
            <ac:spMk id="8" creationId="{7EC731C3-0F8B-46CA-AEDF-A7757FA82E68}"/>
          </ac:spMkLst>
        </pc:spChg>
      </pc:sldChg>
      <pc:sldChg chg="addSp modSp add">
        <pc:chgData name="LAISSAOUI, Ghita" userId="ac8a0427-4948-4bf4-bb5c-4b9a41a9bd01" providerId="ADAL" clId="{8C4A23C6-A272-4AE5-87F4-94EB44631B18}" dt="2022-02-01T14:22:14.534" v="9615"/>
        <pc:sldMkLst>
          <pc:docMk/>
          <pc:sldMk cId="2646646187" sldId="2147229438"/>
        </pc:sldMkLst>
        <pc:spChg chg="add mod">
          <ac:chgData name="LAISSAOUI, Ghita" userId="ac8a0427-4948-4bf4-bb5c-4b9a41a9bd01" providerId="ADAL" clId="{8C4A23C6-A272-4AE5-87F4-94EB44631B18}" dt="2022-02-01T14:22:14.534" v="9615"/>
          <ac:spMkLst>
            <pc:docMk/>
            <pc:sldMk cId="2646646187" sldId="2147229438"/>
            <ac:spMk id="9" creationId="{CF5AE876-57C9-41F0-B5EB-EC8B8DCA9768}"/>
          </ac:spMkLst>
        </pc:spChg>
      </pc:sldChg>
      <pc:sldChg chg="addSp modSp add">
        <pc:chgData name="LAISSAOUI, Ghita" userId="ac8a0427-4948-4bf4-bb5c-4b9a41a9bd01" providerId="ADAL" clId="{8C4A23C6-A272-4AE5-87F4-94EB44631B18}" dt="2022-02-01T14:22:16.486" v="9616"/>
        <pc:sldMkLst>
          <pc:docMk/>
          <pc:sldMk cId="1768657405" sldId="2147229439"/>
        </pc:sldMkLst>
        <pc:spChg chg="add mod">
          <ac:chgData name="LAISSAOUI, Ghita" userId="ac8a0427-4948-4bf4-bb5c-4b9a41a9bd01" providerId="ADAL" clId="{8C4A23C6-A272-4AE5-87F4-94EB44631B18}" dt="2022-02-01T14:22:16.486" v="9616"/>
          <ac:spMkLst>
            <pc:docMk/>
            <pc:sldMk cId="1768657405" sldId="2147229439"/>
            <ac:spMk id="9" creationId="{670B44AF-B696-4A15-92F4-2BB99B31F9C8}"/>
          </ac:spMkLst>
        </pc:spChg>
      </pc:sldChg>
      <pc:sldChg chg="addSp modSp add">
        <pc:chgData name="LAISSAOUI, Ghita" userId="ac8a0427-4948-4bf4-bb5c-4b9a41a9bd01" providerId="ADAL" clId="{8C4A23C6-A272-4AE5-87F4-94EB44631B18}" dt="2022-02-01T14:22:18.236" v="9617"/>
        <pc:sldMkLst>
          <pc:docMk/>
          <pc:sldMk cId="3496321952" sldId="2147229440"/>
        </pc:sldMkLst>
        <pc:spChg chg="add mod">
          <ac:chgData name="LAISSAOUI, Ghita" userId="ac8a0427-4948-4bf4-bb5c-4b9a41a9bd01" providerId="ADAL" clId="{8C4A23C6-A272-4AE5-87F4-94EB44631B18}" dt="2022-02-01T14:22:18.236" v="9617"/>
          <ac:spMkLst>
            <pc:docMk/>
            <pc:sldMk cId="3496321952" sldId="2147229440"/>
            <ac:spMk id="7" creationId="{01F08ECD-67AE-4539-A23B-F9D8B81489E5}"/>
          </ac:spMkLst>
        </pc:spChg>
      </pc:sldChg>
      <pc:sldChg chg="addSp modSp add">
        <pc:chgData name="LAISSAOUI, Ghita" userId="ac8a0427-4948-4bf4-bb5c-4b9a41a9bd01" providerId="ADAL" clId="{8C4A23C6-A272-4AE5-87F4-94EB44631B18}" dt="2022-02-01T14:22:20.450" v="9618"/>
        <pc:sldMkLst>
          <pc:docMk/>
          <pc:sldMk cId="2190017781" sldId="2147229441"/>
        </pc:sldMkLst>
        <pc:spChg chg="add mod">
          <ac:chgData name="LAISSAOUI, Ghita" userId="ac8a0427-4948-4bf4-bb5c-4b9a41a9bd01" providerId="ADAL" clId="{8C4A23C6-A272-4AE5-87F4-94EB44631B18}" dt="2022-02-01T14:22:20.450" v="9618"/>
          <ac:spMkLst>
            <pc:docMk/>
            <pc:sldMk cId="2190017781" sldId="2147229441"/>
            <ac:spMk id="6" creationId="{92FD45B8-07C8-43A4-B7C8-333B10A42050}"/>
          </ac:spMkLst>
        </pc:spChg>
      </pc:sldChg>
      <pc:sldChg chg="modSp add mod">
        <pc:chgData name="LAISSAOUI, Ghita" userId="ac8a0427-4948-4bf4-bb5c-4b9a41a9bd01" providerId="ADAL" clId="{8C4A23C6-A272-4AE5-87F4-94EB44631B18}" dt="2022-02-01T16:05:03.017" v="9747" actId="313"/>
        <pc:sldMkLst>
          <pc:docMk/>
          <pc:sldMk cId="101242816" sldId="2147229442"/>
        </pc:sldMkLst>
        <pc:spChg chg="mod">
          <ac:chgData name="LAISSAOUI, Ghita" userId="ac8a0427-4948-4bf4-bb5c-4b9a41a9bd01" providerId="ADAL" clId="{8C4A23C6-A272-4AE5-87F4-94EB44631B18}" dt="2022-02-01T16:05:03.017" v="9747" actId="313"/>
          <ac:spMkLst>
            <pc:docMk/>
            <pc:sldMk cId="101242816" sldId="2147229442"/>
            <ac:spMk id="7" creationId="{F64AF913-53F0-4E15-8624-B36EA4067070}"/>
          </ac:spMkLst>
        </pc:spChg>
      </pc:sldChg>
      <pc:sldMasterChg chg="addSldLayout delSldLayout">
        <pc:chgData name="LAISSAOUI, Ghita" userId="ac8a0427-4948-4bf4-bb5c-4b9a41a9bd01" providerId="ADAL" clId="{8C4A23C6-A272-4AE5-87F4-94EB44631B18}" dt="2022-02-01T08:32:11.798" v="9324" actId="47"/>
        <pc:sldMasterMkLst>
          <pc:docMk/>
          <pc:sldMasterMk cId="938901486" sldId="2147483660"/>
        </pc:sldMasterMkLst>
        <pc:sldLayoutChg chg="add del">
          <pc:chgData name="LAISSAOUI, Ghita" userId="ac8a0427-4948-4bf4-bb5c-4b9a41a9bd01" providerId="ADAL" clId="{8C4A23C6-A272-4AE5-87F4-94EB44631B18}" dt="2022-02-01T08:32:11.798" v="9324" actId="47"/>
          <pc:sldLayoutMkLst>
            <pc:docMk/>
            <pc:sldMasterMk cId="938901486" sldId="2147483660"/>
            <pc:sldLayoutMk cId="3223543003" sldId="2147483672"/>
          </pc:sldLayoutMkLst>
        </pc:sldLayoutChg>
        <pc:sldLayoutChg chg="del">
          <pc:chgData name="LAISSAOUI, Ghita" userId="ac8a0427-4948-4bf4-bb5c-4b9a41a9bd01" providerId="ADAL" clId="{8C4A23C6-A272-4AE5-87F4-94EB44631B18}" dt="2022-01-31T07:14:01.830" v="8182" actId="47"/>
          <pc:sldLayoutMkLst>
            <pc:docMk/>
            <pc:sldMasterMk cId="938901486" sldId="2147483660"/>
            <pc:sldLayoutMk cId="1069002826" sldId="2147483770"/>
          </pc:sldLayoutMkLst>
        </pc:sldLayoutChg>
        <pc:sldLayoutChg chg="del">
          <pc:chgData name="LAISSAOUI, Ghita" userId="ac8a0427-4948-4bf4-bb5c-4b9a41a9bd01" providerId="ADAL" clId="{8C4A23C6-A272-4AE5-87F4-94EB44631B18}" dt="2022-01-27T08:41:43.172" v="3976" actId="47"/>
          <pc:sldLayoutMkLst>
            <pc:docMk/>
            <pc:sldMasterMk cId="938901486" sldId="2147483660"/>
            <pc:sldLayoutMk cId="1660624042" sldId="2147483772"/>
          </pc:sldLayoutMkLst>
        </pc:sldLayoutChg>
        <pc:sldLayoutChg chg="del">
          <pc:chgData name="LAISSAOUI, Ghita" userId="ac8a0427-4948-4bf4-bb5c-4b9a41a9bd01" providerId="ADAL" clId="{8C4A23C6-A272-4AE5-87F4-94EB44631B18}" dt="2022-01-27T08:40:36.318" v="3973" actId="47"/>
          <pc:sldLayoutMkLst>
            <pc:docMk/>
            <pc:sldMasterMk cId="938901486" sldId="2147483660"/>
            <pc:sldLayoutMk cId="4051156233" sldId="2147483772"/>
          </pc:sldLayoutMkLst>
        </pc:sldLayoutChg>
        <pc:sldLayoutChg chg="del">
          <pc:chgData name="LAISSAOUI, Ghita" userId="ac8a0427-4948-4bf4-bb5c-4b9a41a9bd01" providerId="ADAL" clId="{8C4A23C6-A272-4AE5-87F4-94EB44631B18}" dt="2022-01-31T06:52:43.703" v="7850" actId="47"/>
          <pc:sldLayoutMkLst>
            <pc:docMk/>
            <pc:sldMasterMk cId="938901486" sldId="2147483660"/>
            <pc:sldLayoutMk cId="212007566" sldId="2147483801"/>
          </pc:sldLayoutMkLst>
        </pc:sldLayoutChg>
        <pc:sldLayoutChg chg="del">
          <pc:chgData name="LAISSAOUI, Ghita" userId="ac8a0427-4948-4bf4-bb5c-4b9a41a9bd01" providerId="ADAL" clId="{8C4A23C6-A272-4AE5-87F4-94EB44631B18}" dt="2022-01-31T07:01:01.023" v="8004" actId="47"/>
          <pc:sldLayoutMkLst>
            <pc:docMk/>
            <pc:sldMasterMk cId="938901486" sldId="2147483660"/>
            <pc:sldLayoutMk cId="614169595" sldId="2147483818"/>
          </pc:sldLayoutMkLst>
        </pc:sldLayoutChg>
        <pc:sldLayoutChg chg="del">
          <pc:chgData name="LAISSAOUI, Ghita" userId="ac8a0427-4948-4bf4-bb5c-4b9a41a9bd01" providerId="ADAL" clId="{8C4A23C6-A272-4AE5-87F4-94EB44631B18}" dt="2022-01-28T16:19:29.384" v="7578" actId="47"/>
          <pc:sldLayoutMkLst>
            <pc:docMk/>
            <pc:sldMasterMk cId="938901486" sldId="2147483660"/>
            <pc:sldLayoutMk cId="947765252" sldId="2147483818"/>
          </pc:sldLayoutMkLst>
        </pc:sldLayoutChg>
      </pc:sldMasterChg>
      <pc:sldMasterChg chg="del delSldLayout">
        <pc:chgData name="LAISSAOUI, Ghita" userId="ac8a0427-4948-4bf4-bb5c-4b9a41a9bd01" providerId="ADAL" clId="{8C4A23C6-A272-4AE5-87F4-94EB44631B18}" dt="2022-01-31T07:07:24.410" v="8091" actId="47"/>
        <pc:sldMasterMkLst>
          <pc:docMk/>
          <pc:sldMasterMk cId="2499179087" sldId="2147483752"/>
        </pc:sldMasterMkLst>
        <pc:sldLayoutChg chg="del">
          <pc:chgData name="LAISSAOUI, Ghita" userId="ac8a0427-4948-4bf4-bb5c-4b9a41a9bd01" providerId="ADAL" clId="{8C4A23C6-A272-4AE5-87F4-94EB44631B18}" dt="2022-01-31T07:07:24.410" v="8091" actId="47"/>
          <pc:sldLayoutMkLst>
            <pc:docMk/>
            <pc:sldMasterMk cId="2499179087" sldId="2147483752"/>
            <pc:sldLayoutMk cId="3857258198" sldId="2147483753"/>
          </pc:sldLayoutMkLst>
        </pc:sldLayoutChg>
        <pc:sldLayoutChg chg="del">
          <pc:chgData name="LAISSAOUI, Ghita" userId="ac8a0427-4948-4bf4-bb5c-4b9a41a9bd01" providerId="ADAL" clId="{8C4A23C6-A272-4AE5-87F4-94EB44631B18}" dt="2022-01-31T07:07:24.410" v="8091" actId="47"/>
          <pc:sldLayoutMkLst>
            <pc:docMk/>
            <pc:sldMasterMk cId="2499179087" sldId="2147483752"/>
            <pc:sldLayoutMk cId="1841945430" sldId="2147483754"/>
          </pc:sldLayoutMkLst>
        </pc:sldLayoutChg>
      </pc:sldMasterChg>
      <pc:sldMasterChg chg="del delSldLayout">
        <pc:chgData name="LAISSAOUI, Ghita" userId="ac8a0427-4948-4bf4-bb5c-4b9a41a9bd01" providerId="ADAL" clId="{8C4A23C6-A272-4AE5-87F4-94EB44631B18}" dt="2022-01-31T07:52:05.236" v="8794" actId="47"/>
        <pc:sldMasterMkLst>
          <pc:docMk/>
          <pc:sldMasterMk cId="3263426416" sldId="2147483755"/>
        </pc:sldMasterMkLst>
        <pc:sldLayoutChg chg="del">
          <pc:chgData name="LAISSAOUI, Ghita" userId="ac8a0427-4948-4bf4-bb5c-4b9a41a9bd01" providerId="ADAL" clId="{8C4A23C6-A272-4AE5-87F4-94EB44631B18}" dt="2022-01-31T07:52:05.236" v="8794" actId="47"/>
          <pc:sldLayoutMkLst>
            <pc:docMk/>
            <pc:sldMasterMk cId="3263426416" sldId="2147483755"/>
            <pc:sldLayoutMk cId="694466254" sldId="2147483756"/>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4192061415" sldId="2147483757"/>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18917549" sldId="2147483758"/>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3161321714" sldId="2147483759"/>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465114191" sldId="2147483760"/>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490013742" sldId="2147483761"/>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267002765" sldId="2147483762"/>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914050704" sldId="2147483763"/>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3575336813" sldId="2147483764"/>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338369497" sldId="2147483765"/>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1975944366" sldId="2147483766"/>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3066606343" sldId="2147483767"/>
          </pc:sldLayoutMkLst>
        </pc:sldLayoutChg>
        <pc:sldLayoutChg chg="del">
          <pc:chgData name="LAISSAOUI, Ghita" userId="ac8a0427-4948-4bf4-bb5c-4b9a41a9bd01" providerId="ADAL" clId="{8C4A23C6-A272-4AE5-87F4-94EB44631B18}" dt="2022-01-31T07:52:05.236" v="8794" actId="47"/>
          <pc:sldLayoutMkLst>
            <pc:docMk/>
            <pc:sldMasterMk cId="3263426416" sldId="2147483755"/>
            <pc:sldLayoutMk cId="2298839846" sldId="2147483768"/>
          </pc:sldLayoutMkLst>
        </pc:sldLayoutChg>
      </pc:sldMasterChg>
      <pc:sldMasterChg chg="delSldLayout">
        <pc:chgData name="LAISSAOUI, Ghita" userId="ac8a0427-4948-4bf4-bb5c-4b9a41a9bd01" providerId="ADAL" clId="{8C4A23C6-A272-4AE5-87F4-94EB44631B18}" dt="2022-01-27T14:56:26.405" v="5282" actId="47"/>
        <pc:sldMasterMkLst>
          <pc:docMk/>
          <pc:sldMasterMk cId="1029642247" sldId="2147483802"/>
        </pc:sldMasterMkLst>
        <pc:sldLayoutChg chg="del">
          <pc:chgData name="LAISSAOUI, Ghita" userId="ac8a0427-4948-4bf4-bb5c-4b9a41a9bd01" providerId="ADAL" clId="{8C4A23C6-A272-4AE5-87F4-94EB44631B18}" dt="2022-01-27T14:56:26.405" v="5282" actId="47"/>
          <pc:sldLayoutMkLst>
            <pc:docMk/>
            <pc:sldMasterMk cId="1029642247" sldId="2147483802"/>
            <pc:sldLayoutMk cId="1899385992" sldId="2147483804"/>
          </pc:sldLayoutMkLst>
        </pc:sldLayoutChg>
      </pc:sldMasterChg>
    </pc:docChg>
  </pc:docChgLst>
  <pc:docChgLst>
    <pc:chgData name="LAISSAOUI, Ghita" userId="S::ghita.laissaoui@capgemini.com::ac8a0427-4948-4bf4-bb5c-4b9a41a9bd01" providerId="AD" clId="Web-{2690FACE-A571-4999-BEC0-14BDF753E6CB}"/>
    <pc:docChg chg="modSld">
      <pc:chgData name="LAISSAOUI, Ghita" userId="S::ghita.laissaoui@capgemini.com::ac8a0427-4948-4bf4-bb5c-4b9a41a9bd01" providerId="AD" clId="Web-{2690FACE-A571-4999-BEC0-14BDF753E6CB}" dt="2022-01-27T08:10:16.140" v="1"/>
      <pc:docMkLst>
        <pc:docMk/>
      </pc:docMkLst>
      <pc:sldChg chg="delSp">
        <pc:chgData name="LAISSAOUI, Ghita" userId="S::ghita.laissaoui@capgemini.com::ac8a0427-4948-4bf4-bb5c-4b9a41a9bd01" providerId="AD" clId="Web-{2690FACE-A571-4999-BEC0-14BDF753E6CB}" dt="2022-01-27T08:10:16.140" v="1"/>
        <pc:sldMkLst>
          <pc:docMk/>
          <pc:sldMk cId="1786030250" sldId="434"/>
        </pc:sldMkLst>
        <pc:spChg chg="del">
          <ac:chgData name="LAISSAOUI, Ghita" userId="S::ghita.laissaoui@capgemini.com::ac8a0427-4948-4bf4-bb5c-4b9a41a9bd01" providerId="AD" clId="Web-{2690FACE-A571-4999-BEC0-14BDF753E6CB}" dt="2022-01-27T08:10:14.374" v="0"/>
          <ac:spMkLst>
            <pc:docMk/>
            <pc:sldMk cId="1786030250" sldId="434"/>
            <ac:spMk id="14" creationId="{A1C23F04-128C-024D-AB66-0F099366EDC2}"/>
          </ac:spMkLst>
        </pc:spChg>
        <pc:grpChg chg="del">
          <ac:chgData name="LAISSAOUI, Ghita" userId="S::ghita.laissaoui@capgemini.com::ac8a0427-4948-4bf4-bb5c-4b9a41a9bd01" providerId="AD" clId="Web-{2690FACE-A571-4999-BEC0-14BDF753E6CB}" dt="2022-01-27T08:10:16.140" v="1"/>
          <ac:grpSpMkLst>
            <pc:docMk/>
            <pc:sldMk cId="1786030250" sldId="434"/>
            <ac:grpSpMk id="4" creationId="{E6458F2D-E7A9-4B6E-BD4F-DEA4D5F1E1FF}"/>
          </ac:grpSpMkLst>
        </pc:grpChg>
      </pc:sldChg>
    </pc:docChg>
  </pc:docChgLst>
  <pc:docChgLst>
    <pc:chgData name="LOQMANE, Yassine" userId="482a9bf1-614d-4fe1-b941-15a80f5ae51e" providerId="ADAL" clId="{5FAB4013-5DBA-4AC1-8BEF-AE49AFD7768A}"/>
    <pc:docChg chg="custSel addSld delSld modSld sldOrd">
      <pc:chgData name="LOQMANE, Yassine" userId="482a9bf1-614d-4fe1-b941-15a80f5ae51e" providerId="ADAL" clId="{5FAB4013-5DBA-4AC1-8BEF-AE49AFD7768A}" dt="2022-02-01T16:07:37.210" v="1384" actId="20577"/>
      <pc:docMkLst>
        <pc:docMk/>
      </pc:docMkLst>
      <pc:sldChg chg="mod modShow">
        <pc:chgData name="LOQMANE, Yassine" userId="482a9bf1-614d-4fe1-b941-15a80f5ae51e" providerId="ADAL" clId="{5FAB4013-5DBA-4AC1-8BEF-AE49AFD7768A}" dt="2022-01-28T14:48:06.379" v="2" actId="729"/>
        <pc:sldMkLst>
          <pc:docMk/>
          <pc:sldMk cId="0" sldId="265"/>
        </pc:sldMkLst>
      </pc:sldChg>
      <pc:sldChg chg="mod modShow">
        <pc:chgData name="LOQMANE, Yassine" userId="482a9bf1-614d-4fe1-b941-15a80f5ae51e" providerId="ADAL" clId="{5FAB4013-5DBA-4AC1-8BEF-AE49AFD7768A}" dt="2022-01-28T14:48:08.643" v="3" actId="729"/>
        <pc:sldMkLst>
          <pc:docMk/>
          <pc:sldMk cId="0" sldId="269"/>
        </pc:sldMkLst>
      </pc:sldChg>
      <pc:sldChg chg="mod modShow">
        <pc:chgData name="LOQMANE, Yassine" userId="482a9bf1-614d-4fe1-b941-15a80f5ae51e" providerId="ADAL" clId="{5FAB4013-5DBA-4AC1-8BEF-AE49AFD7768A}" dt="2022-01-28T14:48:03.935" v="1" actId="729"/>
        <pc:sldMkLst>
          <pc:docMk/>
          <pc:sldMk cId="486010690" sldId="297"/>
        </pc:sldMkLst>
      </pc:sldChg>
      <pc:sldChg chg="mod modShow">
        <pc:chgData name="LOQMANE, Yassine" userId="482a9bf1-614d-4fe1-b941-15a80f5ae51e" providerId="ADAL" clId="{5FAB4013-5DBA-4AC1-8BEF-AE49AFD7768A}" dt="2022-01-28T14:48:01.729" v="0" actId="729"/>
        <pc:sldMkLst>
          <pc:docMk/>
          <pc:sldMk cId="3416527252" sldId="2076137472"/>
        </pc:sldMkLst>
      </pc:sldChg>
      <pc:sldChg chg="modSp add mod ord">
        <pc:chgData name="LOQMANE, Yassine" userId="482a9bf1-614d-4fe1-b941-15a80f5ae51e" providerId="ADAL" clId="{5FAB4013-5DBA-4AC1-8BEF-AE49AFD7768A}" dt="2022-02-01T16:07:37.210" v="1384" actId="20577"/>
        <pc:sldMkLst>
          <pc:docMk/>
          <pc:sldMk cId="1834505298" sldId="2134806730"/>
        </pc:sldMkLst>
        <pc:spChg chg="mod">
          <ac:chgData name="LOQMANE, Yassine" userId="482a9bf1-614d-4fe1-b941-15a80f5ae51e" providerId="ADAL" clId="{5FAB4013-5DBA-4AC1-8BEF-AE49AFD7768A}" dt="2022-02-01T16:07:37.210" v="1384" actId="20577"/>
          <ac:spMkLst>
            <pc:docMk/>
            <pc:sldMk cId="1834505298" sldId="2134806730"/>
            <ac:spMk id="4" creationId="{44D5FC31-28D7-4714-B754-331233EBDF43}"/>
          </ac:spMkLst>
        </pc:spChg>
        <pc:spChg chg="mod">
          <ac:chgData name="LOQMANE, Yassine" userId="482a9bf1-614d-4fe1-b941-15a80f5ae51e" providerId="ADAL" clId="{5FAB4013-5DBA-4AC1-8BEF-AE49AFD7768A}" dt="2022-02-01T15:26:41.908" v="1167" actId="20577"/>
          <ac:spMkLst>
            <pc:docMk/>
            <pc:sldMk cId="1834505298" sldId="2134806730"/>
            <ac:spMk id="5" creationId="{F163E286-8281-486F-A4A2-16CA1856B8C8}"/>
          </ac:spMkLst>
        </pc:spChg>
        <pc:picChg chg="mod">
          <ac:chgData name="LOQMANE, Yassine" userId="482a9bf1-614d-4fe1-b941-15a80f5ae51e" providerId="ADAL" clId="{5FAB4013-5DBA-4AC1-8BEF-AE49AFD7768A}" dt="2022-02-01T16:07:26.619" v="1375" actId="14100"/>
          <ac:picMkLst>
            <pc:docMk/>
            <pc:sldMk cId="1834505298" sldId="2134806730"/>
            <ac:picMk id="7" creationId="{E36A31CA-1054-486D-B949-859F86EB3609}"/>
          </ac:picMkLst>
        </pc:picChg>
      </pc:sldChg>
      <pc:sldChg chg="modSp add mod ord">
        <pc:chgData name="LOQMANE, Yassine" userId="482a9bf1-614d-4fe1-b941-15a80f5ae51e" providerId="ADAL" clId="{5FAB4013-5DBA-4AC1-8BEF-AE49AFD7768A}" dt="2022-02-01T15:52:06.535" v="1353" actId="20577"/>
        <pc:sldMkLst>
          <pc:docMk/>
          <pc:sldMk cId="272416247" sldId="2134806731"/>
        </pc:sldMkLst>
        <pc:spChg chg="mod">
          <ac:chgData name="LOQMANE, Yassine" userId="482a9bf1-614d-4fe1-b941-15a80f5ae51e" providerId="ADAL" clId="{5FAB4013-5DBA-4AC1-8BEF-AE49AFD7768A}" dt="2022-02-01T15:52:06.535" v="1353" actId="20577"/>
          <ac:spMkLst>
            <pc:docMk/>
            <pc:sldMk cId="272416247" sldId="2134806731"/>
            <ac:spMk id="4" creationId="{E8C7CBED-12B6-48B1-A723-FB79E45AFB05}"/>
          </ac:spMkLst>
        </pc:spChg>
        <pc:spChg chg="mod">
          <ac:chgData name="LOQMANE, Yassine" userId="482a9bf1-614d-4fe1-b941-15a80f5ae51e" providerId="ADAL" clId="{5FAB4013-5DBA-4AC1-8BEF-AE49AFD7768A}" dt="2022-02-01T14:50:49.725" v="683" actId="20577"/>
          <ac:spMkLst>
            <pc:docMk/>
            <pc:sldMk cId="272416247" sldId="2134806731"/>
            <ac:spMk id="5" creationId="{307B0AEE-D208-4112-A2EC-DA75FC2CA39B}"/>
          </ac:spMkLst>
        </pc:spChg>
        <pc:picChg chg="mod">
          <ac:chgData name="LOQMANE, Yassine" userId="482a9bf1-614d-4fe1-b941-15a80f5ae51e" providerId="ADAL" clId="{5FAB4013-5DBA-4AC1-8BEF-AE49AFD7768A}" dt="2022-02-01T15:12:16.621" v="1161" actId="14100"/>
          <ac:picMkLst>
            <pc:docMk/>
            <pc:sldMk cId="272416247" sldId="2134806731"/>
            <ac:picMk id="8" creationId="{F5B8311C-D3B1-470C-9AF9-51DFFBF79DFF}"/>
          </ac:picMkLst>
        </pc:picChg>
      </pc:sldChg>
      <pc:sldChg chg="modSp add mod">
        <pc:chgData name="LOQMANE, Yassine" userId="482a9bf1-614d-4fe1-b941-15a80f5ae51e" providerId="ADAL" clId="{5FAB4013-5DBA-4AC1-8BEF-AE49AFD7768A}" dt="2022-02-01T15:56:10.872" v="1372" actId="20577"/>
        <pc:sldMkLst>
          <pc:docMk/>
          <pc:sldMk cId="4131288217" sldId="2134806732"/>
        </pc:sldMkLst>
        <pc:spChg chg="mod">
          <ac:chgData name="LOQMANE, Yassine" userId="482a9bf1-614d-4fe1-b941-15a80f5ae51e" providerId="ADAL" clId="{5FAB4013-5DBA-4AC1-8BEF-AE49AFD7768A}" dt="2022-02-01T15:56:10.872" v="1372" actId="20577"/>
          <ac:spMkLst>
            <pc:docMk/>
            <pc:sldMk cId="4131288217" sldId="2134806732"/>
            <ac:spMk id="4" creationId="{5E31AB87-35D9-4619-A2A4-BF3359C82D7F}"/>
          </ac:spMkLst>
        </pc:spChg>
        <pc:spChg chg="mod">
          <ac:chgData name="LOQMANE, Yassine" userId="482a9bf1-614d-4fe1-b941-15a80f5ae51e" providerId="ADAL" clId="{5FAB4013-5DBA-4AC1-8BEF-AE49AFD7768A}" dt="2022-02-01T13:56:14.152" v="329" actId="20577"/>
          <ac:spMkLst>
            <pc:docMk/>
            <pc:sldMk cId="4131288217" sldId="2134806732"/>
            <ac:spMk id="5" creationId="{4932451A-7E1E-4810-A43A-7B2E28577041}"/>
          </ac:spMkLst>
        </pc:spChg>
        <pc:picChg chg="mod">
          <ac:chgData name="LOQMANE, Yassine" userId="482a9bf1-614d-4fe1-b941-15a80f5ae51e" providerId="ADAL" clId="{5FAB4013-5DBA-4AC1-8BEF-AE49AFD7768A}" dt="2022-02-01T15:12:09.028" v="1159" actId="1076"/>
          <ac:picMkLst>
            <pc:docMk/>
            <pc:sldMk cId="4131288217" sldId="2134806732"/>
            <ac:picMk id="8" creationId="{FD1C1547-1A28-473B-8107-7D83C7E5BA79}"/>
          </ac:picMkLst>
        </pc:picChg>
      </pc:sldChg>
      <pc:sldChg chg="del">
        <pc:chgData name="LOQMANE, Yassine" userId="482a9bf1-614d-4fe1-b941-15a80f5ae51e" providerId="ADAL" clId="{5FAB4013-5DBA-4AC1-8BEF-AE49AFD7768A}" dt="2022-01-31T15:01:17.961" v="13" actId="47"/>
        <pc:sldMkLst>
          <pc:docMk/>
          <pc:sldMk cId="2511328651" sldId="2147229380"/>
        </pc:sldMkLst>
      </pc:sldChg>
      <pc:sldChg chg="mod modShow">
        <pc:chgData name="LOQMANE, Yassine" userId="482a9bf1-614d-4fe1-b941-15a80f5ae51e" providerId="ADAL" clId="{5FAB4013-5DBA-4AC1-8BEF-AE49AFD7768A}" dt="2022-01-28T14:48:12.188" v="4" actId="729"/>
        <pc:sldMkLst>
          <pc:docMk/>
          <pc:sldMk cId="3693210627" sldId="2147229392"/>
        </pc:sldMkLst>
      </pc:sldChg>
      <pc:sldChg chg="addSp delSp modSp mod">
        <pc:chgData name="LOQMANE, Yassine" userId="482a9bf1-614d-4fe1-b941-15a80f5ae51e" providerId="ADAL" clId="{5FAB4013-5DBA-4AC1-8BEF-AE49AFD7768A}" dt="2022-01-28T15:03:05.750" v="9" actId="478"/>
        <pc:sldMkLst>
          <pc:docMk/>
          <pc:sldMk cId="935599861" sldId="2147229393"/>
        </pc:sldMkLst>
        <pc:spChg chg="del">
          <ac:chgData name="LOQMANE, Yassine" userId="482a9bf1-614d-4fe1-b941-15a80f5ae51e" providerId="ADAL" clId="{5FAB4013-5DBA-4AC1-8BEF-AE49AFD7768A}" dt="2022-01-28T15:01:36.411" v="5" actId="478"/>
          <ac:spMkLst>
            <pc:docMk/>
            <pc:sldMk cId="935599861" sldId="2147229393"/>
            <ac:spMk id="4" creationId="{9E57C285-1F37-46BA-8DB5-651AED880ED9}"/>
          </ac:spMkLst>
        </pc:spChg>
        <pc:spChg chg="add del">
          <ac:chgData name="LOQMANE, Yassine" userId="482a9bf1-614d-4fe1-b941-15a80f5ae51e" providerId="ADAL" clId="{5FAB4013-5DBA-4AC1-8BEF-AE49AFD7768A}" dt="2022-01-28T15:03:05.750" v="9" actId="478"/>
          <ac:spMkLst>
            <pc:docMk/>
            <pc:sldMk cId="935599861" sldId="2147229393"/>
            <ac:spMk id="6" creationId="{04778D1A-3D83-4A92-86B0-AD33B16B2498}"/>
          </ac:spMkLst>
        </pc:spChg>
        <pc:spChg chg="del mod">
          <ac:chgData name="LOQMANE, Yassine" userId="482a9bf1-614d-4fe1-b941-15a80f5ae51e" providerId="ADAL" clId="{5FAB4013-5DBA-4AC1-8BEF-AE49AFD7768A}" dt="2022-01-28T15:01:40.269" v="7" actId="478"/>
          <ac:spMkLst>
            <pc:docMk/>
            <pc:sldMk cId="935599861" sldId="2147229393"/>
            <ac:spMk id="10" creationId="{78E9C112-D4E1-438D-9561-1014110B673D}"/>
          </ac:spMkLst>
        </pc:spChg>
      </pc:sldChg>
    </pc:docChg>
  </pc:docChgLst>
  <pc:docChgLst>
    <pc:chgData name="KA, Alioune" userId="fe37275f-539e-4a12-8419-9118552aec31" providerId="ADAL" clId="{19B1FA86-7D2D-7C46-93D3-C3C8BC1CF57F}"/>
    <pc:docChg chg="undo custSel modSld">
      <pc:chgData name="KA, Alioune" userId="fe37275f-539e-4a12-8419-9118552aec31" providerId="ADAL" clId="{19B1FA86-7D2D-7C46-93D3-C3C8BC1CF57F}" dt="2022-01-26T10:55:47.998" v="385" actId="20577"/>
      <pc:docMkLst>
        <pc:docMk/>
      </pc:docMkLst>
      <pc:sldChg chg="modSp mod">
        <pc:chgData name="KA, Alioune" userId="fe37275f-539e-4a12-8419-9118552aec31" providerId="ADAL" clId="{19B1FA86-7D2D-7C46-93D3-C3C8BC1CF57F}" dt="2022-01-26T10:55:47.998" v="385" actId="20577"/>
        <pc:sldMkLst>
          <pc:docMk/>
          <pc:sldMk cId="3024905232" sldId="2145706261"/>
        </pc:sldMkLst>
        <pc:spChg chg="mod">
          <ac:chgData name="KA, Alioune" userId="fe37275f-539e-4a12-8419-9118552aec31" providerId="ADAL" clId="{19B1FA86-7D2D-7C46-93D3-C3C8BC1CF57F}" dt="2022-01-26T10:48:13.383" v="380" actId="20577"/>
          <ac:spMkLst>
            <pc:docMk/>
            <pc:sldMk cId="3024905232" sldId="2145706261"/>
            <ac:spMk id="71" creationId="{B56407EB-5850-4CEB-B3DA-F3A850137A15}"/>
          </ac:spMkLst>
        </pc:spChg>
        <pc:spChg chg="mod">
          <ac:chgData name="KA, Alioune" userId="fe37275f-539e-4a12-8419-9118552aec31" providerId="ADAL" clId="{19B1FA86-7D2D-7C46-93D3-C3C8BC1CF57F}" dt="2022-01-26T10:55:47.998" v="385" actId="20577"/>
          <ac:spMkLst>
            <pc:docMk/>
            <pc:sldMk cId="3024905232" sldId="2145706261"/>
            <ac:spMk id="76" creationId="{D2F47129-E6E5-4D87-B2C2-D46271BA1694}"/>
          </ac:spMkLst>
        </pc:spChg>
        <pc:spChg chg="mod">
          <ac:chgData name="KA, Alioune" userId="fe37275f-539e-4a12-8419-9118552aec31" providerId="ADAL" clId="{19B1FA86-7D2D-7C46-93D3-C3C8BC1CF57F}" dt="2022-01-26T10:48:55.921" v="382" actId="404"/>
          <ac:spMkLst>
            <pc:docMk/>
            <pc:sldMk cId="3024905232" sldId="2145706261"/>
            <ac:spMk id="81" creationId="{784677B9-170F-4AEB-8B5F-29A9602EA74E}"/>
          </ac:spMkLst>
        </pc:spChg>
      </pc:sldChg>
    </pc:docChg>
  </pc:docChgLst>
  <pc:docChgLst>
    <pc:chgData name="KA, Alioune" userId="fe37275f-539e-4a12-8419-9118552aec31" providerId="ADAL" clId="{68124842-A2FD-B14E-83F7-E5DA442A633D}"/>
    <pc:docChg chg="custSel addSld delSld modSld sldOrd">
      <pc:chgData name="KA, Alioune" userId="fe37275f-539e-4a12-8419-9118552aec31" providerId="ADAL" clId="{68124842-A2FD-B14E-83F7-E5DA442A633D}" dt="2022-02-23T13:03:08.074" v="203" actId="478"/>
      <pc:docMkLst>
        <pc:docMk/>
      </pc:docMkLst>
      <pc:sldChg chg="delSp modSp mod">
        <pc:chgData name="KA, Alioune" userId="fe37275f-539e-4a12-8419-9118552aec31" providerId="ADAL" clId="{68124842-A2FD-B14E-83F7-E5DA442A633D}" dt="2022-02-23T13:03:08.074" v="203" actId="478"/>
        <pc:sldMkLst>
          <pc:docMk/>
          <pc:sldMk cId="2812766509" sldId="2147229218"/>
        </pc:sldMkLst>
        <pc:spChg chg="del mod">
          <ac:chgData name="KA, Alioune" userId="fe37275f-539e-4a12-8419-9118552aec31" providerId="ADAL" clId="{68124842-A2FD-B14E-83F7-E5DA442A633D}" dt="2022-02-23T13:03:08.074" v="203" actId="478"/>
          <ac:spMkLst>
            <pc:docMk/>
            <pc:sldMk cId="2812766509" sldId="2147229218"/>
            <ac:spMk id="4" creationId="{872016CB-E4BA-4771-AE23-90C941997D64}"/>
          </ac:spMkLst>
        </pc:spChg>
      </pc:sldChg>
      <pc:sldChg chg="ord">
        <pc:chgData name="KA, Alioune" userId="fe37275f-539e-4a12-8419-9118552aec31" providerId="ADAL" clId="{68124842-A2FD-B14E-83F7-E5DA442A633D}" dt="2022-02-23T12:54:00.944" v="199" actId="20578"/>
        <pc:sldMkLst>
          <pc:docMk/>
          <pc:sldMk cId="1128458317" sldId="2147229410"/>
        </pc:sldMkLst>
      </pc:sldChg>
      <pc:sldChg chg="delSp del mod">
        <pc:chgData name="KA, Alioune" userId="fe37275f-539e-4a12-8419-9118552aec31" providerId="ADAL" clId="{68124842-A2FD-B14E-83F7-E5DA442A633D}" dt="2022-02-23T12:54:13.774" v="201" actId="2696"/>
        <pc:sldMkLst>
          <pc:docMk/>
          <pc:sldMk cId="3931396647" sldId="2147229415"/>
        </pc:sldMkLst>
        <pc:spChg chg="del">
          <ac:chgData name="KA, Alioune" userId="fe37275f-539e-4a12-8419-9118552aec31" providerId="ADAL" clId="{68124842-A2FD-B14E-83F7-E5DA442A633D}" dt="2022-02-22T17:19:05.481" v="0" actId="478"/>
          <ac:spMkLst>
            <pc:docMk/>
            <pc:sldMk cId="3931396647" sldId="2147229415"/>
            <ac:spMk id="11" creationId="{06028770-2459-DC45-9EE8-C547D21C23AF}"/>
          </ac:spMkLst>
        </pc:spChg>
      </pc:sldChg>
      <pc:sldChg chg="delSp mod ord">
        <pc:chgData name="KA, Alioune" userId="fe37275f-539e-4a12-8419-9118552aec31" providerId="ADAL" clId="{68124842-A2FD-B14E-83F7-E5DA442A633D}" dt="2022-02-23T12:54:09.879" v="200" actId="20578"/>
        <pc:sldMkLst>
          <pc:docMk/>
          <pc:sldMk cId="276656327" sldId="2147229443"/>
        </pc:sldMkLst>
        <pc:spChg chg="del">
          <ac:chgData name="KA, Alioune" userId="fe37275f-539e-4a12-8419-9118552aec31" providerId="ADAL" clId="{68124842-A2FD-B14E-83F7-E5DA442A633D}" dt="2022-02-22T17:19:11.028" v="1" actId="478"/>
          <ac:spMkLst>
            <pc:docMk/>
            <pc:sldMk cId="276656327" sldId="2147229443"/>
            <ac:spMk id="11" creationId="{06028770-2459-DC45-9EE8-C547D21C23AF}"/>
          </ac:spMkLst>
        </pc:spChg>
      </pc:sldChg>
      <pc:sldChg chg="addSp modSp mod">
        <pc:chgData name="KA, Alioune" userId="fe37275f-539e-4a12-8419-9118552aec31" providerId="ADAL" clId="{68124842-A2FD-B14E-83F7-E5DA442A633D}" dt="2022-02-23T12:27:36.879" v="198" actId="113"/>
        <pc:sldMkLst>
          <pc:docMk/>
          <pc:sldMk cId="4130323097" sldId="2147229448"/>
        </pc:sldMkLst>
        <pc:spChg chg="add mod">
          <ac:chgData name="KA, Alioune" userId="fe37275f-539e-4a12-8419-9118552aec31" providerId="ADAL" clId="{68124842-A2FD-B14E-83F7-E5DA442A633D}" dt="2022-02-23T12:27:36.879" v="198" actId="113"/>
          <ac:spMkLst>
            <pc:docMk/>
            <pc:sldMk cId="4130323097" sldId="2147229448"/>
            <ac:spMk id="2" creationId="{23D7B51F-DDF8-054C-B7AC-E1F75A75C5A9}"/>
          </ac:spMkLst>
        </pc:spChg>
        <pc:spChg chg="mod">
          <ac:chgData name="KA, Alioune" userId="fe37275f-539e-4a12-8419-9118552aec31" providerId="ADAL" clId="{68124842-A2FD-B14E-83F7-E5DA442A633D}" dt="2022-02-23T12:25:24.321" v="51" actId="1036"/>
          <ac:spMkLst>
            <pc:docMk/>
            <pc:sldMk cId="4130323097" sldId="2147229448"/>
            <ac:spMk id="80" creationId="{BABDD72D-A7F4-8C42-AC59-CA1B0AE4D7E2}"/>
          </ac:spMkLst>
        </pc:spChg>
        <pc:spChg chg="mod">
          <ac:chgData name="KA, Alioune" userId="fe37275f-539e-4a12-8419-9118552aec31" providerId="ADAL" clId="{68124842-A2FD-B14E-83F7-E5DA442A633D}" dt="2022-02-23T12:25:24.321" v="51" actId="1036"/>
          <ac:spMkLst>
            <pc:docMk/>
            <pc:sldMk cId="4130323097" sldId="2147229448"/>
            <ac:spMk id="81" creationId="{F1B1CC8E-D943-F143-94C0-8C7831236F65}"/>
          </ac:spMkLst>
        </pc:spChg>
        <pc:spChg chg="mod">
          <ac:chgData name="KA, Alioune" userId="fe37275f-539e-4a12-8419-9118552aec31" providerId="ADAL" clId="{68124842-A2FD-B14E-83F7-E5DA442A633D}" dt="2022-02-23T12:25:24.321" v="51" actId="1036"/>
          <ac:spMkLst>
            <pc:docMk/>
            <pc:sldMk cId="4130323097" sldId="2147229448"/>
            <ac:spMk id="87" creationId="{A55EB7C0-7065-534E-A08A-0DAD449CAF66}"/>
          </ac:spMkLst>
        </pc:spChg>
        <pc:spChg chg="mod">
          <ac:chgData name="KA, Alioune" userId="fe37275f-539e-4a12-8419-9118552aec31" providerId="ADAL" clId="{68124842-A2FD-B14E-83F7-E5DA442A633D}" dt="2022-02-23T12:25:24.321" v="51" actId="1036"/>
          <ac:spMkLst>
            <pc:docMk/>
            <pc:sldMk cId="4130323097" sldId="2147229448"/>
            <ac:spMk id="88" creationId="{40980480-8FAA-E04C-B45C-AD19FAEF5F3F}"/>
          </ac:spMkLst>
        </pc:spChg>
        <pc:spChg chg="mod">
          <ac:chgData name="KA, Alioune" userId="fe37275f-539e-4a12-8419-9118552aec31" providerId="ADAL" clId="{68124842-A2FD-B14E-83F7-E5DA442A633D}" dt="2022-02-23T12:25:24.321" v="51" actId="1036"/>
          <ac:spMkLst>
            <pc:docMk/>
            <pc:sldMk cId="4130323097" sldId="2147229448"/>
            <ac:spMk id="89" creationId="{42805411-67FC-1748-8DCB-F0C6A6E11B3E}"/>
          </ac:spMkLst>
        </pc:spChg>
        <pc:grpChg chg="mod">
          <ac:chgData name="KA, Alioune" userId="fe37275f-539e-4a12-8419-9118552aec31" providerId="ADAL" clId="{68124842-A2FD-B14E-83F7-E5DA442A633D}" dt="2022-02-23T12:25:24.321" v="51" actId="1036"/>
          <ac:grpSpMkLst>
            <pc:docMk/>
            <pc:sldMk cId="4130323097" sldId="2147229448"/>
            <ac:grpSpMk id="91" creationId="{0734DE03-D96E-7642-9C6E-23D317074289}"/>
          </ac:grpSpMkLst>
        </pc:grpChg>
      </pc:sldChg>
      <pc:sldChg chg="modSp mod ord">
        <pc:chgData name="KA, Alioune" userId="fe37275f-539e-4a12-8419-9118552aec31" providerId="ADAL" clId="{68124842-A2FD-B14E-83F7-E5DA442A633D}" dt="2022-02-22T18:17:58.112" v="37" actId="20577"/>
        <pc:sldMkLst>
          <pc:docMk/>
          <pc:sldMk cId="3045153165" sldId="2147229450"/>
        </pc:sldMkLst>
        <pc:spChg chg="mod">
          <ac:chgData name="KA, Alioune" userId="fe37275f-539e-4a12-8419-9118552aec31" providerId="ADAL" clId="{68124842-A2FD-B14E-83F7-E5DA442A633D}" dt="2022-02-22T18:17:58.112" v="37" actId="20577"/>
          <ac:spMkLst>
            <pc:docMk/>
            <pc:sldMk cId="3045153165" sldId="2147229450"/>
            <ac:spMk id="11" creationId="{388B92BA-0FD7-6647-A715-81C01453FF05}"/>
          </ac:spMkLst>
        </pc:spChg>
        <pc:spChg chg="mod">
          <ac:chgData name="KA, Alioune" userId="fe37275f-539e-4a12-8419-9118552aec31" providerId="ADAL" clId="{68124842-A2FD-B14E-83F7-E5DA442A633D}" dt="2022-02-22T18:17:17.866" v="11" actId="20577"/>
          <ac:spMkLst>
            <pc:docMk/>
            <pc:sldMk cId="3045153165" sldId="2147229450"/>
            <ac:spMk id="52" creationId="{63A29FAE-B363-174A-B3BE-7EEF91B3230A}"/>
          </ac:spMkLst>
        </pc:spChg>
      </pc:sldChg>
      <pc:sldChg chg="add del ord">
        <pc:chgData name="KA, Alioune" userId="fe37275f-539e-4a12-8419-9118552aec31" providerId="ADAL" clId="{68124842-A2FD-B14E-83F7-E5DA442A633D}" dt="2022-02-22T17:20:57.460" v="4" actId="2696"/>
        <pc:sldMkLst>
          <pc:docMk/>
          <pc:sldMk cId="3150073214" sldId="2147229455"/>
        </pc:sldMkLst>
      </pc:sldChg>
    </pc:docChg>
  </pc:docChgLst>
  <pc:docChgLst>
    <pc:chgData name="JABET, Eloi" userId="ebffa7fe-f8f7-4119-8839-7e211feaaa70" providerId="ADAL" clId="{4D906366-F9CF-4249-8917-C501BC4985C1}"/>
    <pc:docChg chg="undo custSel addSld delSld modSld sldOrd">
      <pc:chgData name="JABET, Eloi" userId="ebffa7fe-f8f7-4119-8839-7e211feaaa70" providerId="ADAL" clId="{4D906366-F9CF-4249-8917-C501BC4985C1}" dt="2022-02-01T16:27:28.344" v="1841" actId="1037"/>
      <pc:docMkLst>
        <pc:docMk/>
      </pc:docMkLst>
      <pc:sldChg chg="addSp modSp">
        <pc:chgData name="JABET, Eloi" userId="ebffa7fe-f8f7-4119-8839-7e211feaaa70" providerId="ADAL" clId="{4D906366-F9CF-4249-8917-C501BC4985C1}" dt="2022-01-27T07:52:21.624" v="126"/>
        <pc:sldMkLst>
          <pc:docMk/>
          <pc:sldMk cId="0" sldId="265"/>
        </pc:sldMkLst>
        <pc:spChg chg="add mod">
          <ac:chgData name="JABET, Eloi" userId="ebffa7fe-f8f7-4119-8839-7e211feaaa70" providerId="ADAL" clId="{4D906366-F9CF-4249-8917-C501BC4985C1}" dt="2022-01-27T07:52:21.624" v="126"/>
          <ac:spMkLst>
            <pc:docMk/>
            <pc:sldMk cId="0" sldId="265"/>
            <ac:spMk id="16" creationId="{3DA8DA88-1215-4E2F-820F-09BE41A3E107}"/>
          </ac:spMkLst>
        </pc:spChg>
      </pc:sldChg>
      <pc:sldChg chg="addSp modSp mod">
        <pc:chgData name="JABET, Eloi" userId="ebffa7fe-f8f7-4119-8839-7e211feaaa70" providerId="ADAL" clId="{4D906366-F9CF-4249-8917-C501BC4985C1}" dt="2022-01-27T07:52:18.932" v="125" actId="20577"/>
        <pc:sldMkLst>
          <pc:docMk/>
          <pc:sldMk cId="0" sldId="269"/>
        </pc:sldMkLst>
        <pc:spChg chg="add mod">
          <ac:chgData name="JABET, Eloi" userId="ebffa7fe-f8f7-4119-8839-7e211feaaa70" providerId="ADAL" clId="{4D906366-F9CF-4249-8917-C501BC4985C1}" dt="2022-01-27T07:52:18.932" v="125" actId="20577"/>
          <ac:spMkLst>
            <pc:docMk/>
            <pc:sldMk cId="0" sldId="269"/>
            <ac:spMk id="8" creationId="{C17D65CA-C2E2-4B5F-A695-FAF28964F725}"/>
          </ac:spMkLst>
        </pc:spChg>
      </pc:sldChg>
      <pc:sldChg chg="del">
        <pc:chgData name="JABET, Eloi" userId="ebffa7fe-f8f7-4119-8839-7e211feaaa70" providerId="ADAL" clId="{4D906366-F9CF-4249-8917-C501BC4985C1}" dt="2022-01-27T07:55:00.720" v="461" actId="47"/>
        <pc:sldMkLst>
          <pc:docMk/>
          <pc:sldMk cId="0" sldId="270"/>
        </pc:sldMkLst>
      </pc:sldChg>
      <pc:sldChg chg="addSp modSp">
        <pc:chgData name="JABET, Eloi" userId="ebffa7fe-f8f7-4119-8839-7e211feaaa70" providerId="ADAL" clId="{4D906366-F9CF-4249-8917-C501BC4985C1}" dt="2022-01-27T07:52:22.295" v="127"/>
        <pc:sldMkLst>
          <pc:docMk/>
          <pc:sldMk cId="486010690" sldId="297"/>
        </pc:sldMkLst>
        <pc:spChg chg="add mod">
          <ac:chgData name="JABET, Eloi" userId="ebffa7fe-f8f7-4119-8839-7e211feaaa70" providerId="ADAL" clId="{4D906366-F9CF-4249-8917-C501BC4985C1}" dt="2022-01-27T07:52:22.295" v="127"/>
          <ac:spMkLst>
            <pc:docMk/>
            <pc:sldMk cId="486010690" sldId="297"/>
            <ac:spMk id="11" creationId="{A43F40C9-4D0C-4A80-92A7-36650FC540E8}"/>
          </ac:spMkLst>
        </pc:spChg>
      </pc:sldChg>
      <pc:sldChg chg="addSp modSp mod">
        <pc:chgData name="JABET, Eloi" userId="ebffa7fe-f8f7-4119-8839-7e211feaaa70" providerId="ADAL" clId="{4D906366-F9CF-4249-8917-C501BC4985C1}" dt="2022-01-27T07:54:06.429" v="460" actId="20577"/>
        <pc:sldMkLst>
          <pc:docMk/>
          <pc:sldMk cId="1786030250" sldId="434"/>
        </pc:sldMkLst>
        <pc:spChg chg="add mod">
          <ac:chgData name="JABET, Eloi" userId="ebffa7fe-f8f7-4119-8839-7e211feaaa70" providerId="ADAL" clId="{4D906366-F9CF-4249-8917-C501BC4985C1}" dt="2022-01-27T07:53:09.699" v="262" actId="20577"/>
          <ac:spMkLst>
            <pc:docMk/>
            <pc:sldMk cId="1786030250" sldId="434"/>
            <ac:spMk id="13" creationId="{AC96BB2B-33F7-4D9F-839B-30F33222AEFD}"/>
          </ac:spMkLst>
        </pc:spChg>
        <pc:spChg chg="add mod">
          <ac:chgData name="JABET, Eloi" userId="ebffa7fe-f8f7-4119-8839-7e211feaaa70" providerId="ADAL" clId="{4D906366-F9CF-4249-8917-C501BC4985C1}" dt="2022-01-27T07:54:06.429" v="460" actId="20577"/>
          <ac:spMkLst>
            <pc:docMk/>
            <pc:sldMk cId="1786030250" sldId="434"/>
            <ac:spMk id="15" creationId="{36197816-0161-449C-B9D0-24DC8FA21B0B}"/>
          </ac:spMkLst>
        </pc:spChg>
        <pc:picChg chg="mod">
          <ac:chgData name="JABET, Eloi" userId="ebffa7fe-f8f7-4119-8839-7e211feaaa70" providerId="ADAL" clId="{4D906366-F9CF-4249-8917-C501BC4985C1}" dt="2022-01-27T07:52:53.138" v="187" actId="1076"/>
          <ac:picMkLst>
            <pc:docMk/>
            <pc:sldMk cId="1786030250" sldId="434"/>
            <ac:picMk id="2" creationId="{055E1861-1AB0-4E88-A41A-A6FB54DD6DA9}"/>
          </ac:picMkLst>
        </pc:picChg>
      </pc:sldChg>
      <pc:sldChg chg="addSp modSp mod">
        <pc:chgData name="JABET, Eloi" userId="ebffa7fe-f8f7-4119-8839-7e211feaaa70" providerId="ADAL" clId="{4D906366-F9CF-4249-8917-C501BC4985C1}" dt="2022-01-31T15:42:37.597" v="1815" actId="692"/>
        <pc:sldMkLst>
          <pc:docMk/>
          <pc:sldMk cId="1459168639" sldId="8258"/>
        </pc:sldMkLst>
        <pc:spChg chg="add mod">
          <ac:chgData name="JABET, Eloi" userId="ebffa7fe-f8f7-4119-8839-7e211feaaa70" providerId="ADAL" clId="{4D906366-F9CF-4249-8917-C501BC4985C1}" dt="2022-01-31T15:41:08.281" v="1777" actId="688"/>
          <ac:spMkLst>
            <pc:docMk/>
            <pc:sldMk cId="1459168639" sldId="8258"/>
            <ac:spMk id="24" creationId="{35F29959-0DA0-4599-BB38-5DCF217A7E99}"/>
          </ac:spMkLst>
        </pc:spChg>
        <pc:spChg chg="add mod">
          <ac:chgData name="JABET, Eloi" userId="ebffa7fe-f8f7-4119-8839-7e211feaaa70" providerId="ADAL" clId="{4D906366-F9CF-4249-8917-C501BC4985C1}" dt="2022-01-31T15:42:37.597" v="1815" actId="692"/>
          <ac:spMkLst>
            <pc:docMk/>
            <pc:sldMk cId="1459168639" sldId="8258"/>
            <ac:spMk id="25" creationId="{A0137C51-EE73-4C38-BA5B-58F7813884BF}"/>
          </ac:spMkLst>
        </pc:spChg>
        <pc:spChg chg="mod">
          <ac:chgData name="JABET, Eloi" userId="ebffa7fe-f8f7-4119-8839-7e211feaaa70" providerId="ADAL" clId="{4D906366-F9CF-4249-8917-C501BC4985C1}" dt="2022-01-31T15:29:45.312" v="1700"/>
          <ac:spMkLst>
            <pc:docMk/>
            <pc:sldMk cId="1459168639" sldId="8258"/>
            <ac:spMk id="42" creationId="{856E507A-BE11-4C13-9BE4-594843DC8D37}"/>
          </ac:spMkLst>
        </pc:spChg>
        <pc:spChg chg="mod">
          <ac:chgData name="JABET, Eloi" userId="ebffa7fe-f8f7-4119-8839-7e211feaaa70" providerId="ADAL" clId="{4D906366-F9CF-4249-8917-C501BC4985C1}" dt="2022-01-31T15:39:48.944" v="1725" actId="1076"/>
          <ac:spMkLst>
            <pc:docMk/>
            <pc:sldMk cId="1459168639" sldId="8258"/>
            <ac:spMk id="43" creationId="{D9E19E9E-867F-405B-8F9B-5B782842469B}"/>
          </ac:spMkLst>
        </pc:spChg>
        <pc:spChg chg="mod">
          <ac:chgData name="JABET, Eloi" userId="ebffa7fe-f8f7-4119-8839-7e211feaaa70" providerId="ADAL" clId="{4D906366-F9CF-4249-8917-C501BC4985C1}" dt="2022-01-31T15:38:37.981" v="1709" actId="108"/>
          <ac:spMkLst>
            <pc:docMk/>
            <pc:sldMk cId="1459168639" sldId="8258"/>
            <ac:spMk id="122" creationId="{CB00246B-74F6-43FB-A3A0-3C4D1DE97117}"/>
          </ac:spMkLst>
        </pc:spChg>
        <pc:spChg chg="mod">
          <ac:chgData name="JABET, Eloi" userId="ebffa7fe-f8f7-4119-8839-7e211feaaa70" providerId="ADAL" clId="{4D906366-F9CF-4249-8917-C501BC4985C1}" dt="2022-01-31T15:38:49.602" v="1715" actId="20577"/>
          <ac:spMkLst>
            <pc:docMk/>
            <pc:sldMk cId="1459168639" sldId="8258"/>
            <ac:spMk id="125" creationId="{A5286A2D-F006-4D73-96B8-78BFEE5FCE03}"/>
          </ac:spMkLst>
        </pc:spChg>
        <pc:cxnChg chg="add mod">
          <ac:chgData name="JABET, Eloi" userId="ebffa7fe-f8f7-4119-8839-7e211feaaa70" providerId="ADAL" clId="{4D906366-F9CF-4249-8917-C501BC4985C1}" dt="2022-01-31T15:39:40.757" v="1719" actId="1076"/>
          <ac:cxnSpMkLst>
            <pc:docMk/>
            <pc:sldMk cId="1459168639" sldId="8258"/>
            <ac:cxnSpMk id="21" creationId="{76F0B1BF-990C-4995-B829-8367646F134B}"/>
          </ac:cxnSpMkLst>
        </pc:cxnChg>
        <pc:cxnChg chg="add mod">
          <ac:chgData name="JABET, Eloi" userId="ebffa7fe-f8f7-4119-8839-7e211feaaa70" providerId="ADAL" clId="{4D906366-F9CF-4249-8917-C501BC4985C1}" dt="2022-01-31T15:39:44.666" v="1721" actId="1076"/>
          <ac:cxnSpMkLst>
            <pc:docMk/>
            <pc:sldMk cId="1459168639" sldId="8258"/>
            <ac:cxnSpMk id="23" creationId="{985383A5-A431-432F-9710-8F358BFBE21E}"/>
          </ac:cxnSpMkLst>
        </pc:cxnChg>
      </pc:sldChg>
      <pc:sldChg chg="addSp modSp">
        <pc:chgData name="JABET, Eloi" userId="ebffa7fe-f8f7-4119-8839-7e211feaaa70" providerId="ADAL" clId="{4D906366-F9CF-4249-8917-C501BC4985C1}" dt="2022-01-27T07:52:24.733" v="128"/>
        <pc:sldMkLst>
          <pc:docMk/>
          <pc:sldMk cId="3416527252" sldId="2076137472"/>
        </pc:sldMkLst>
        <pc:spChg chg="add mod">
          <ac:chgData name="JABET, Eloi" userId="ebffa7fe-f8f7-4119-8839-7e211feaaa70" providerId="ADAL" clId="{4D906366-F9CF-4249-8917-C501BC4985C1}" dt="2022-01-27T07:52:24.733" v="128"/>
          <ac:spMkLst>
            <pc:docMk/>
            <pc:sldMk cId="3416527252" sldId="2076137472"/>
            <ac:spMk id="6" creationId="{D7057ECF-2E32-4678-AAEF-84F09E9F26A9}"/>
          </ac:spMkLst>
        </pc:spChg>
      </pc:sldChg>
      <pc:sldChg chg="addSp modSp mod">
        <pc:chgData name="JABET, Eloi" userId="ebffa7fe-f8f7-4119-8839-7e211feaaa70" providerId="ADAL" clId="{4D906366-F9CF-4249-8917-C501BC4985C1}" dt="2022-01-31T15:29:45.312" v="1700"/>
        <pc:sldMkLst>
          <pc:docMk/>
          <pc:sldMk cId="2050342813" sldId="2145706200"/>
        </pc:sldMkLst>
        <pc:spChg chg="mod">
          <ac:chgData name="JABET, Eloi" userId="ebffa7fe-f8f7-4119-8839-7e211feaaa70" providerId="ADAL" clId="{4D906366-F9CF-4249-8917-C501BC4985C1}" dt="2022-01-31T15:29:45.312" v="1700"/>
          <ac:spMkLst>
            <pc:docMk/>
            <pc:sldMk cId="2050342813" sldId="2145706200"/>
            <ac:spMk id="10" creationId="{1B95245B-5360-44DA-8526-B062BCDA2222}"/>
          </ac:spMkLst>
        </pc:spChg>
        <pc:spChg chg="add mod">
          <ac:chgData name="JABET, Eloi" userId="ebffa7fe-f8f7-4119-8839-7e211feaaa70" providerId="ADAL" clId="{4D906366-F9CF-4249-8917-C501BC4985C1}" dt="2022-01-27T07:56:11.856" v="577" actId="20577"/>
          <ac:spMkLst>
            <pc:docMk/>
            <pc:sldMk cId="2050342813" sldId="2145706200"/>
            <ac:spMk id="21" creationId="{43C2CB56-012E-452B-9902-6D0A7AEB9322}"/>
          </ac:spMkLst>
        </pc:spChg>
        <pc:spChg chg="mod">
          <ac:chgData name="JABET, Eloi" userId="ebffa7fe-f8f7-4119-8839-7e211feaaa70" providerId="ADAL" clId="{4D906366-F9CF-4249-8917-C501BC4985C1}" dt="2022-01-31T15:29:45.312" v="1700"/>
          <ac:spMkLst>
            <pc:docMk/>
            <pc:sldMk cId="2050342813" sldId="2145706200"/>
            <ac:spMk id="27" creationId="{19D7E913-40E6-4F1C-8009-0881FADBB26A}"/>
          </ac:spMkLst>
        </pc:spChg>
      </pc:sldChg>
      <pc:sldChg chg="addSp modSp mod ord">
        <pc:chgData name="JABET, Eloi" userId="ebffa7fe-f8f7-4119-8839-7e211feaaa70" providerId="ADAL" clId="{4D906366-F9CF-4249-8917-C501BC4985C1}" dt="2022-01-31T15:29:45.312" v="1700"/>
        <pc:sldMkLst>
          <pc:docMk/>
          <pc:sldMk cId="3024905232" sldId="2145706261"/>
        </pc:sldMkLst>
        <pc:spChg chg="mod">
          <ac:chgData name="JABET, Eloi" userId="ebffa7fe-f8f7-4119-8839-7e211feaaa70" providerId="ADAL" clId="{4D906366-F9CF-4249-8917-C501BC4985C1}" dt="2022-01-31T15:29:45.312" v="1700"/>
          <ac:spMkLst>
            <pc:docMk/>
            <pc:sldMk cId="3024905232" sldId="2145706261"/>
            <ac:spMk id="31" creationId="{545E76E4-F960-4AD3-B1A0-F9BDDF9EADC7}"/>
          </ac:spMkLst>
        </pc:spChg>
        <pc:spChg chg="add mod">
          <ac:chgData name="JABET, Eloi" userId="ebffa7fe-f8f7-4119-8839-7e211feaaa70" providerId="ADAL" clId="{4D906366-F9CF-4249-8917-C501BC4985C1}" dt="2022-01-27T07:57:57.748" v="853" actId="14100"/>
          <ac:spMkLst>
            <pc:docMk/>
            <pc:sldMk cId="3024905232" sldId="2145706261"/>
            <ac:spMk id="32" creationId="{506FBA09-5E0E-4AD0-B06F-1F6048AB2A34}"/>
          </ac:spMkLst>
        </pc:spChg>
      </pc:sldChg>
      <pc:sldChg chg="addSp delSp modSp mod">
        <pc:chgData name="JABET, Eloi" userId="ebffa7fe-f8f7-4119-8839-7e211feaaa70" providerId="ADAL" clId="{4D906366-F9CF-4249-8917-C501BC4985C1}" dt="2022-01-31T15:29:45.312" v="1700"/>
        <pc:sldMkLst>
          <pc:docMk/>
          <pc:sldMk cId="585301086" sldId="2145706328"/>
        </pc:sldMkLst>
        <pc:spChg chg="add del">
          <ac:chgData name="JABET, Eloi" userId="ebffa7fe-f8f7-4119-8839-7e211feaaa70" providerId="ADAL" clId="{4D906366-F9CF-4249-8917-C501BC4985C1}" dt="2022-01-27T08:00:08.583" v="1126" actId="22"/>
          <ac:spMkLst>
            <pc:docMk/>
            <pc:sldMk cId="585301086" sldId="2145706328"/>
            <ac:spMk id="38" creationId="{6D407440-71B4-4C04-859C-C2B7157E87F4}"/>
          </ac:spMkLst>
        </pc:spChg>
        <pc:spChg chg="add mod">
          <ac:chgData name="JABET, Eloi" userId="ebffa7fe-f8f7-4119-8839-7e211feaaa70" providerId="ADAL" clId="{4D906366-F9CF-4249-8917-C501BC4985C1}" dt="2022-01-27T08:01:20.066" v="1380" actId="20577"/>
          <ac:spMkLst>
            <pc:docMk/>
            <pc:sldMk cId="585301086" sldId="2145706328"/>
            <ac:spMk id="45" creationId="{B8F9BFA3-DF74-44D7-B078-D9944906A235}"/>
          </ac:spMkLst>
        </pc:spChg>
        <pc:spChg chg="mod">
          <ac:chgData name="JABET, Eloi" userId="ebffa7fe-f8f7-4119-8839-7e211feaaa70" providerId="ADAL" clId="{4D906366-F9CF-4249-8917-C501BC4985C1}" dt="2022-01-31T15:29:45.312" v="1700"/>
          <ac:spMkLst>
            <pc:docMk/>
            <pc:sldMk cId="585301086" sldId="2145706328"/>
            <ac:spMk id="51" creationId="{C66E319D-0897-4D4E-AE19-D85FD7643660}"/>
          </ac:spMkLst>
        </pc:spChg>
      </pc:sldChg>
      <pc:sldChg chg="addSp delSp modSp mod">
        <pc:chgData name="JABET, Eloi" userId="ebffa7fe-f8f7-4119-8839-7e211feaaa70" providerId="ADAL" clId="{4D906366-F9CF-4249-8917-C501BC4985C1}" dt="2022-01-27T08:02:24.652" v="1508" actId="20577"/>
        <pc:sldMkLst>
          <pc:docMk/>
          <pc:sldMk cId="119012224" sldId="2145706389"/>
        </pc:sldMkLst>
        <pc:spChg chg="add mod">
          <ac:chgData name="JABET, Eloi" userId="ebffa7fe-f8f7-4119-8839-7e211feaaa70" providerId="ADAL" clId="{4D906366-F9CF-4249-8917-C501BC4985C1}" dt="2022-01-27T08:02:00.268" v="1391" actId="1076"/>
          <ac:spMkLst>
            <pc:docMk/>
            <pc:sldMk cId="119012224" sldId="2145706389"/>
            <ac:spMk id="4" creationId="{32CF78F4-A64F-4266-B8BD-E5E5CFEADBC8}"/>
          </ac:spMkLst>
        </pc:spChg>
        <pc:spChg chg="add del">
          <ac:chgData name="JABET, Eloi" userId="ebffa7fe-f8f7-4119-8839-7e211feaaa70" providerId="ADAL" clId="{4D906366-F9CF-4249-8917-C501BC4985C1}" dt="2022-01-27T08:01:32.269" v="1382" actId="22"/>
          <ac:spMkLst>
            <pc:docMk/>
            <pc:sldMk cId="119012224" sldId="2145706389"/>
            <ac:spMk id="18" creationId="{CB06656B-3218-4A43-90A5-39A6CCC7A4DE}"/>
          </ac:spMkLst>
        </pc:spChg>
        <pc:spChg chg="add mod">
          <ac:chgData name="JABET, Eloi" userId="ebffa7fe-f8f7-4119-8839-7e211feaaa70" providerId="ADAL" clId="{4D906366-F9CF-4249-8917-C501BC4985C1}" dt="2022-01-27T08:02:24.652" v="1508" actId="20577"/>
          <ac:spMkLst>
            <pc:docMk/>
            <pc:sldMk cId="119012224" sldId="2145706389"/>
            <ac:spMk id="19" creationId="{A104AA72-C5FD-4F25-93A7-869D76F37894}"/>
          </ac:spMkLst>
        </pc:spChg>
      </pc:sldChg>
      <pc:sldChg chg="addSp modSp">
        <pc:chgData name="JABET, Eloi" userId="ebffa7fe-f8f7-4119-8839-7e211feaaa70" providerId="ADAL" clId="{4D906366-F9CF-4249-8917-C501BC4985C1}" dt="2022-01-27T07:55:39.582" v="478"/>
        <pc:sldMkLst>
          <pc:docMk/>
          <pc:sldMk cId="2511328651" sldId="2147229380"/>
        </pc:sldMkLst>
        <pc:spChg chg="add mod">
          <ac:chgData name="JABET, Eloi" userId="ebffa7fe-f8f7-4119-8839-7e211feaaa70" providerId="ADAL" clId="{4D906366-F9CF-4249-8917-C501BC4985C1}" dt="2022-01-27T07:55:39.582" v="478"/>
          <ac:spMkLst>
            <pc:docMk/>
            <pc:sldMk cId="2511328651" sldId="2147229380"/>
            <ac:spMk id="11" creationId="{069A8510-AFDF-46F3-909F-AE031134AA75}"/>
          </ac:spMkLst>
        </pc:spChg>
      </pc:sldChg>
      <pc:sldChg chg="addSp delSp modSp mod">
        <pc:chgData name="JABET, Eloi" userId="ebffa7fe-f8f7-4119-8839-7e211feaaa70" providerId="ADAL" clId="{4D906366-F9CF-4249-8917-C501BC4985C1}" dt="2022-02-01T16:27:28.344" v="1841" actId="1037"/>
        <pc:sldMkLst>
          <pc:docMk/>
          <pc:sldMk cId="3429431810" sldId="2147229382"/>
        </pc:sldMkLst>
        <pc:spChg chg="mod">
          <ac:chgData name="JABET, Eloi" userId="ebffa7fe-f8f7-4119-8839-7e211feaaa70" providerId="ADAL" clId="{4D906366-F9CF-4249-8917-C501BC4985C1}" dt="2022-01-31T15:14:30.237" v="1659" actId="1076"/>
          <ac:spMkLst>
            <pc:docMk/>
            <pc:sldMk cId="3429431810" sldId="2147229382"/>
            <ac:spMk id="7" creationId="{3DA94280-24D9-4AB5-9275-46F9BF72BED8}"/>
          </ac:spMkLst>
        </pc:spChg>
        <pc:spChg chg="mod">
          <ac:chgData name="JABET, Eloi" userId="ebffa7fe-f8f7-4119-8839-7e211feaaa70" providerId="ADAL" clId="{4D906366-F9CF-4249-8917-C501BC4985C1}" dt="2022-02-01T16:27:19.871" v="1835" actId="14861"/>
          <ac:spMkLst>
            <pc:docMk/>
            <pc:sldMk cId="3429431810" sldId="2147229382"/>
            <ac:spMk id="8" creationId="{93FD5088-6A76-4416-A61E-EB06DE05F6FC}"/>
          </ac:spMkLst>
        </pc:spChg>
        <pc:spChg chg="mod">
          <ac:chgData name="JABET, Eloi" userId="ebffa7fe-f8f7-4119-8839-7e211feaaa70" providerId="ADAL" clId="{4D906366-F9CF-4249-8917-C501BC4985C1}" dt="2022-02-01T16:27:19.871" v="1835" actId="14861"/>
          <ac:spMkLst>
            <pc:docMk/>
            <pc:sldMk cId="3429431810" sldId="2147229382"/>
            <ac:spMk id="9" creationId="{C21F8C94-5273-48E9-AD72-CE4854AAD7C9}"/>
          </ac:spMkLst>
        </pc:spChg>
        <pc:spChg chg="add del mod">
          <ac:chgData name="JABET, Eloi" userId="ebffa7fe-f8f7-4119-8839-7e211feaaa70" providerId="ADAL" clId="{4D906366-F9CF-4249-8917-C501BC4985C1}" dt="2022-01-27T08:04:36.671" v="1657" actId="478"/>
          <ac:spMkLst>
            <pc:docMk/>
            <pc:sldMk cId="3429431810" sldId="2147229382"/>
            <ac:spMk id="38" creationId="{21E03A00-E3A4-4010-A1D4-240804BF1A32}"/>
          </ac:spMkLst>
        </pc:spChg>
        <pc:spChg chg="add mod">
          <ac:chgData name="JABET, Eloi" userId="ebffa7fe-f8f7-4119-8839-7e211feaaa70" providerId="ADAL" clId="{4D906366-F9CF-4249-8917-C501BC4985C1}" dt="2022-02-01T16:27:19.871" v="1835" actId="14861"/>
          <ac:spMkLst>
            <pc:docMk/>
            <pc:sldMk cId="3429431810" sldId="2147229382"/>
            <ac:spMk id="39" creationId="{F46C642F-6AC3-40F9-BF62-EDE70D0AE99E}"/>
          </ac:spMkLst>
        </pc:spChg>
        <pc:spChg chg="add mod">
          <ac:chgData name="JABET, Eloi" userId="ebffa7fe-f8f7-4119-8839-7e211feaaa70" providerId="ADAL" clId="{4D906366-F9CF-4249-8917-C501BC4985C1}" dt="2022-02-01T16:27:19.871" v="1835" actId="14861"/>
          <ac:spMkLst>
            <pc:docMk/>
            <pc:sldMk cId="3429431810" sldId="2147229382"/>
            <ac:spMk id="40" creationId="{499CFD65-D6A7-4118-A666-1BEFD09F8616}"/>
          </ac:spMkLst>
        </pc:spChg>
        <pc:spChg chg="add del mod">
          <ac:chgData name="JABET, Eloi" userId="ebffa7fe-f8f7-4119-8839-7e211feaaa70" providerId="ADAL" clId="{4D906366-F9CF-4249-8917-C501BC4985C1}" dt="2022-02-01T16:24:23.414" v="1821" actId="478"/>
          <ac:spMkLst>
            <pc:docMk/>
            <pc:sldMk cId="3429431810" sldId="2147229382"/>
            <ac:spMk id="42" creationId="{EC69C684-6CEF-49A9-BE64-C2EB9534BD61}"/>
          </ac:spMkLst>
        </pc:spChg>
        <pc:spChg chg="add mod">
          <ac:chgData name="JABET, Eloi" userId="ebffa7fe-f8f7-4119-8839-7e211feaaa70" providerId="ADAL" clId="{4D906366-F9CF-4249-8917-C501BC4985C1}" dt="2022-02-01T16:27:28.344" v="1841" actId="1037"/>
          <ac:spMkLst>
            <pc:docMk/>
            <pc:sldMk cId="3429431810" sldId="2147229382"/>
            <ac:spMk id="43" creationId="{25E4AC6B-3C34-4DE4-A968-C8CAEF434942}"/>
          </ac:spMkLst>
        </pc:spChg>
        <pc:spChg chg="add mod">
          <ac:chgData name="JABET, Eloi" userId="ebffa7fe-f8f7-4119-8839-7e211feaaa70" providerId="ADAL" clId="{4D906366-F9CF-4249-8917-C501BC4985C1}" dt="2022-02-01T16:27:19.871" v="1835" actId="14861"/>
          <ac:spMkLst>
            <pc:docMk/>
            <pc:sldMk cId="3429431810" sldId="2147229382"/>
            <ac:spMk id="44" creationId="{8E06FA6F-16A2-41C4-A200-03F5FCB73FD1}"/>
          </ac:spMkLst>
        </pc:spChg>
        <pc:spChg chg="add mod">
          <ac:chgData name="JABET, Eloi" userId="ebffa7fe-f8f7-4119-8839-7e211feaaa70" providerId="ADAL" clId="{4D906366-F9CF-4249-8917-C501BC4985C1}" dt="2022-02-01T16:27:19.871" v="1835" actId="14861"/>
          <ac:spMkLst>
            <pc:docMk/>
            <pc:sldMk cId="3429431810" sldId="2147229382"/>
            <ac:spMk id="45" creationId="{8BF883A0-3980-4CCE-A40F-EA7E926D4773}"/>
          </ac:spMkLst>
        </pc:spChg>
        <pc:spChg chg="mod">
          <ac:chgData name="JABET, Eloi" userId="ebffa7fe-f8f7-4119-8839-7e211feaaa70" providerId="ADAL" clId="{4D906366-F9CF-4249-8917-C501BC4985C1}" dt="2022-02-01T16:27:19.871" v="1835" actId="14861"/>
          <ac:spMkLst>
            <pc:docMk/>
            <pc:sldMk cId="3429431810" sldId="2147229382"/>
            <ac:spMk id="48" creationId="{DE402871-DCEC-458F-BD23-C5F926FCC52D}"/>
          </ac:spMkLst>
        </pc:spChg>
        <pc:spChg chg="mod">
          <ac:chgData name="JABET, Eloi" userId="ebffa7fe-f8f7-4119-8839-7e211feaaa70" providerId="ADAL" clId="{4D906366-F9CF-4249-8917-C501BC4985C1}" dt="2022-02-01T16:27:19.871" v="1835" actId="14861"/>
          <ac:spMkLst>
            <pc:docMk/>
            <pc:sldMk cId="3429431810" sldId="2147229382"/>
            <ac:spMk id="49" creationId="{299E9F4C-4906-49A4-B44D-60A6F0277F53}"/>
          </ac:spMkLst>
        </pc:spChg>
        <pc:spChg chg="mod">
          <ac:chgData name="JABET, Eloi" userId="ebffa7fe-f8f7-4119-8839-7e211feaaa70" providerId="ADAL" clId="{4D906366-F9CF-4249-8917-C501BC4985C1}" dt="2022-02-01T16:27:19.871" v="1835" actId="14861"/>
          <ac:spMkLst>
            <pc:docMk/>
            <pc:sldMk cId="3429431810" sldId="2147229382"/>
            <ac:spMk id="50" creationId="{57197083-0C6E-4E7B-AD3C-BCDF05FB33DE}"/>
          </ac:spMkLst>
        </pc:spChg>
        <pc:spChg chg="mod">
          <ac:chgData name="JABET, Eloi" userId="ebffa7fe-f8f7-4119-8839-7e211feaaa70" providerId="ADAL" clId="{4D906366-F9CF-4249-8917-C501BC4985C1}" dt="2022-02-01T16:27:19.871" v="1835" actId="14861"/>
          <ac:spMkLst>
            <pc:docMk/>
            <pc:sldMk cId="3429431810" sldId="2147229382"/>
            <ac:spMk id="52" creationId="{9DAD4285-15B7-4BAF-B687-48C12A9DB898}"/>
          </ac:spMkLst>
        </pc:spChg>
        <pc:spChg chg="mod">
          <ac:chgData name="JABET, Eloi" userId="ebffa7fe-f8f7-4119-8839-7e211feaaa70" providerId="ADAL" clId="{4D906366-F9CF-4249-8917-C501BC4985C1}" dt="2022-02-01T16:27:19.871" v="1835" actId="14861"/>
          <ac:spMkLst>
            <pc:docMk/>
            <pc:sldMk cId="3429431810" sldId="2147229382"/>
            <ac:spMk id="53" creationId="{19AF14D9-AA50-4F85-BBA3-22484A4BB56A}"/>
          </ac:spMkLst>
        </pc:spChg>
        <pc:spChg chg="mod">
          <ac:chgData name="JABET, Eloi" userId="ebffa7fe-f8f7-4119-8839-7e211feaaa70" providerId="ADAL" clId="{4D906366-F9CF-4249-8917-C501BC4985C1}" dt="2022-02-01T16:27:19.871" v="1835" actId="14861"/>
          <ac:spMkLst>
            <pc:docMk/>
            <pc:sldMk cId="3429431810" sldId="2147229382"/>
            <ac:spMk id="54" creationId="{21082FAA-7789-42E2-BCF4-B951956E6F22}"/>
          </ac:spMkLst>
        </pc:spChg>
        <pc:spChg chg="del">
          <ac:chgData name="JABET, Eloi" userId="ebffa7fe-f8f7-4119-8839-7e211feaaa70" providerId="ADAL" clId="{4D906366-F9CF-4249-8917-C501BC4985C1}" dt="2022-02-01T16:24:49.187" v="1827" actId="478"/>
          <ac:spMkLst>
            <pc:docMk/>
            <pc:sldMk cId="3429431810" sldId="2147229382"/>
            <ac:spMk id="55" creationId="{A4CFBC5E-817B-40BB-9F5F-9641ADF167EF}"/>
          </ac:spMkLst>
        </pc:spChg>
        <pc:spChg chg="del mod">
          <ac:chgData name="JABET, Eloi" userId="ebffa7fe-f8f7-4119-8839-7e211feaaa70" providerId="ADAL" clId="{4D906366-F9CF-4249-8917-C501BC4985C1}" dt="2022-02-01T16:24:49.187" v="1827" actId="478"/>
          <ac:spMkLst>
            <pc:docMk/>
            <pc:sldMk cId="3429431810" sldId="2147229382"/>
            <ac:spMk id="56" creationId="{80F76901-61F2-4EEC-B746-896B2576312D}"/>
          </ac:spMkLst>
        </pc:spChg>
        <pc:spChg chg="del">
          <ac:chgData name="JABET, Eloi" userId="ebffa7fe-f8f7-4119-8839-7e211feaaa70" providerId="ADAL" clId="{4D906366-F9CF-4249-8917-C501BC4985C1}" dt="2022-02-01T16:24:49.187" v="1827" actId="478"/>
          <ac:spMkLst>
            <pc:docMk/>
            <pc:sldMk cId="3429431810" sldId="2147229382"/>
            <ac:spMk id="57" creationId="{EF95F2BB-712B-440A-B4CA-4EBAAA2C4184}"/>
          </ac:spMkLst>
        </pc:spChg>
        <pc:spChg chg="del">
          <ac:chgData name="JABET, Eloi" userId="ebffa7fe-f8f7-4119-8839-7e211feaaa70" providerId="ADAL" clId="{4D906366-F9CF-4249-8917-C501BC4985C1}" dt="2022-02-01T16:24:49.187" v="1827" actId="478"/>
          <ac:spMkLst>
            <pc:docMk/>
            <pc:sldMk cId="3429431810" sldId="2147229382"/>
            <ac:spMk id="58" creationId="{77C2F7C1-0064-4B10-B425-AF3928FE8B6B}"/>
          </ac:spMkLst>
        </pc:spChg>
        <pc:spChg chg="del">
          <ac:chgData name="JABET, Eloi" userId="ebffa7fe-f8f7-4119-8839-7e211feaaa70" providerId="ADAL" clId="{4D906366-F9CF-4249-8917-C501BC4985C1}" dt="2022-02-01T16:24:49.187" v="1827" actId="478"/>
          <ac:spMkLst>
            <pc:docMk/>
            <pc:sldMk cId="3429431810" sldId="2147229382"/>
            <ac:spMk id="59" creationId="{F83B690D-A917-4C97-A7DB-6D2D5BF1B3ED}"/>
          </ac:spMkLst>
        </pc:spChg>
        <pc:spChg chg="del mod">
          <ac:chgData name="JABET, Eloi" userId="ebffa7fe-f8f7-4119-8839-7e211feaaa70" providerId="ADAL" clId="{4D906366-F9CF-4249-8917-C501BC4985C1}" dt="2022-02-01T16:24:49.187" v="1827" actId="478"/>
          <ac:spMkLst>
            <pc:docMk/>
            <pc:sldMk cId="3429431810" sldId="2147229382"/>
            <ac:spMk id="60" creationId="{E08C3059-F6D9-40B2-B757-97F6A4766553}"/>
          </ac:spMkLst>
        </pc:spChg>
        <pc:picChg chg="mod">
          <ac:chgData name="JABET, Eloi" userId="ebffa7fe-f8f7-4119-8839-7e211feaaa70" providerId="ADAL" clId="{4D906366-F9CF-4249-8917-C501BC4985C1}" dt="2022-02-01T16:27:19.871" v="1835" actId="14861"/>
          <ac:picMkLst>
            <pc:docMk/>
            <pc:sldMk cId="3429431810" sldId="2147229382"/>
            <ac:picMk id="4" creationId="{D6BD6FAD-1664-4C13-80E1-46233E062F12}"/>
          </ac:picMkLst>
        </pc:picChg>
        <pc:picChg chg="mod">
          <ac:chgData name="JABET, Eloi" userId="ebffa7fe-f8f7-4119-8839-7e211feaaa70" providerId="ADAL" clId="{4D906366-F9CF-4249-8917-C501BC4985C1}" dt="2022-02-01T16:27:19.871" v="1835" actId="14861"/>
          <ac:picMkLst>
            <pc:docMk/>
            <pc:sldMk cId="3429431810" sldId="2147229382"/>
            <ac:picMk id="6" creationId="{44BD6AC5-67B3-47FC-83B1-581C49979B0A}"/>
          </ac:picMkLst>
        </pc:picChg>
        <pc:picChg chg="mod">
          <ac:chgData name="JABET, Eloi" userId="ebffa7fe-f8f7-4119-8839-7e211feaaa70" providerId="ADAL" clId="{4D906366-F9CF-4249-8917-C501BC4985C1}" dt="2022-02-01T16:27:19.871" v="1835" actId="14861"/>
          <ac:picMkLst>
            <pc:docMk/>
            <pc:sldMk cId="3429431810" sldId="2147229382"/>
            <ac:picMk id="10" creationId="{4A5DAC7C-3B8A-4681-A11A-03C5304E3482}"/>
          </ac:picMkLst>
        </pc:picChg>
        <pc:picChg chg="del">
          <ac:chgData name="JABET, Eloi" userId="ebffa7fe-f8f7-4119-8839-7e211feaaa70" providerId="ADAL" clId="{4D906366-F9CF-4249-8917-C501BC4985C1}" dt="2022-02-01T16:24:49.187" v="1827" actId="478"/>
          <ac:picMkLst>
            <pc:docMk/>
            <pc:sldMk cId="3429431810" sldId="2147229382"/>
            <ac:picMk id="18" creationId="{DAE8C610-16B0-4B7B-907E-AE23C0C9E2BB}"/>
          </ac:picMkLst>
        </pc:picChg>
        <pc:picChg chg="del">
          <ac:chgData name="JABET, Eloi" userId="ebffa7fe-f8f7-4119-8839-7e211feaaa70" providerId="ADAL" clId="{4D906366-F9CF-4249-8917-C501BC4985C1}" dt="2022-02-01T16:24:49.187" v="1827" actId="478"/>
          <ac:picMkLst>
            <pc:docMk/>
            <pc:sldMk cId="3429431810" sldId="2147229382"/>
            <ac:picMk id="22" creationId="{48807ED5-5A67-4D64-8FD0-AE012E6C8E08}"/>
          </ac:picMkLst>
        </pc:picChg>
        <pc:picChg chg="del">
          <ac:chgData name="JABET, Eloi" userId="ebffa7fe-f8f7-4119-8839-7e211feaaa70" providerId="ADAL" clId="{4D906366-F9CF-4249-8917-C501BC4985C1}" dt="2022-02-01T16:24:49.187" v="1827" actId="478"/>
          <ac:picMkLst>
            <pc:docMk/>
            <pc:sldMk cId="3429431810" sldId="2147229382"/>
            <ac:picMk id="24" creationId="{FFCF26F1-9A82-470D-860A-89F600FBC77C}"/>
          </ac:picMkLst>
        </pc:picChg>
        <pc:picChg chg="del">
          <ac:chgData name="JABET, Eloi" userId="ebffa7fe-f8f7-4119-8839-7e211feaaa70" providerId="ADAL" clId="{4D906366-F9CF-4249-8917-C501BC4985C1}" dt="2022-02-01T16:24:49.187" v="1827" actId="478"/>
          <ac:picMkLst>
            <pc:docMk/>
            <pc:sldMk cId="3429431810" sldId="2147229382"/>
            <ac:picMk id="26" creationId="{3E543EA4-DA82-4049-AFD3-6A9FA1DE6624}"/>
          </ac:picMkLst>
        </pc:picChg>
        <pc:picChg chg="del">
          <ac:chgData name="JABET, Eloi" userId="ebffa7fe-f8f7-4119-8839-7e211feaaa70" providerId="ADAL" clId="{4D906366-F9CF-4249-8917-C501BC4985C1}" dt="2022-02-01T16:24:49.187" v="1827" actId="478"/>
          <ac:picMkLst>
            <pc:docMk/>
            <pc:sldMk cId="3429431810" sldId="2147229382"/>
            <ac:picMk id="28" creationId="{974B2EB6-A4BD-46F4-A3CD-C9F67E2B183A}"/>
          </ac:picMkLst>
        </pc:picChg>
        <pc:picChg chg="add del mod">
          <ac:chgData name="JABET, Eloi" userId="ebffa7fe-f8f7-4119-8839-7e211feaaa70" providerId="ADAL" clId="{4D906366-F9CF-4249-8917-C501BC4985C1}" dt="2022-02-01T16:24:23.414" v="1821" actId="478"/>
          <ac:picMkLst>
            <pc:docMk/>
            <pc:sldMk cId="3429431810" sldId="2147229382"/>
            <ac:picMk id="31" creationId="{B67CDE5C-370B-4359-ABE7-783B30AFDA1D}"/>
          </ac:picMkLst>
        </pc:picChg>
        <pc:picChg chg="add mod">
          <ac:chgData name="JABET, Eloi" userId="ebffa7fe-f8f7-4119-8839-7e211feaaa70" providerId="ADAL" clId="{4D906366-F9CF-4249-8917-C501BC4985C1}" dt="2022-02-01T16:27:19.871" v="1835" actId="14861"/>
          <ac:picMkLst>
            <pc:docMk/>
            <pc:sldMk cId="3429431810" sldId="2147229382"/>
            <ac:picMk id="32" creationId="{EB80EBE6-110D-4154-B1E7-80AEAC974C76}"/>
          </ac:picMkLst>
        </pc:picChg>
        <pc:picChg chg="add mod">
          <ac:chgData name="JABET, Eloi" userId="ebffa7fe-f8f7-4119-8839-7e211feaaa70" providerId="ADAL" clId="{4D906366-F9CF-4249-8917-C501BC4985C1}" dt="2022-02-01T16:27:19.871" v="1835" actId="14861"/>
          <ac:picMkLst>
            <pc:docMk/>
            <pc:sldMk cId="3429431810" sldId="2147229382"/>
            <ac:picMk id="33" creationId="{2E93F9F9-B3B6-4746-9F82-3D12A6697EE1}"/>
          </ac:picMkLst>
        </pc:picChg>
        <pc:picChg chg="add mod">
          <ac:chgData name="JABET, Eloi" userId="ebffa7fe-f8f7-4119-8839-7e211feaaa70" providerId="ADAL" clId="{4D906366-F9CF-4249-8917-C501BC4985C1}" dt="2022-02-01T16:27:19.871" v="1835" actId="14861"/>
          <ac:picMkLst>
            <pc:docMk/>
            <pc:sldMk cId="3429431810" sldId="2147229382"/>
            <ac:picMk id="34" creationId="{CFDCD8E0-5B56-4E08-8A34-3DC615AD4D52}"/>
          </ac:picMkLst>
        </pc:picChg>
        <pc:picChg chg="add mod">
          <ac:chgData name="JABET, Eloi" userId="ebffa7fe-f8f7-4119-8839-7e211feaaa70" providerId="ADAL" clId="{4D906366-F9CF-4249-8917-C501BC4985C1}" dt="2022-02-01T16:27:19.871" v="1835" actId="14861"/>
          <ac:picMkLst>
            <pc:docMk/>
            <pc:sldMk cId="3429431810" sldId="2147229382"/>
            <ac:picMk id="35" creationId="{71211B11-2FC4-42E2-B938-E15E45A6B605}"/>
          </ac:picMkLst>
        </pc:picChg>
        <pc:picChg chg="mod">
          <ac:chgData name="JABET, Eloi" userId="ebffa7fe-f8f7-4119-8839-7e211feaaa70" providerId="ADAL" clId="{4D906366-F9CF-4249-8917-C501BC4985C1}" dt="2022-02-01T16:27:19.871" v="1835" actId="14861"/>
          <ac:picMkLst>
            <pc:docMk/>
            <pc:sldMk cId="3429431810" sldId="2147229382"/>
            <ac:picMk id="36" creationId="{0484FF08-EEFC-4C56-A51E-32617E6C6B51}"/>
          </ac:picMkLst>
        </pc:picChg>
        <pc:picChg chg="mod">
          <ac:chgData name="JABET, Eloi" userId="ebffa7fe-f8f7-4119-8839-7e211feaaa70" providerId="ADAL" clId="{4D906366-F9CF-4249-8917-C501BC4985C1}" dt="2022-02-01T16:27:19.871" v="1835" actId="14861"/>
          <ac:picMkLst>
            <pc:docMk/>
            <pc:sldMk cId="3429431810" sldId="2147229382"/>
            <ac:picMk id="37" creationId="{23AEFF4D-86BA-4E21-8B1A-FB7075BC8C06}"/>
          </ac:picMkLst>
        </pc:picChg>
        <pc:picChg chg="add mod">
          <ac:chgData name="JABET, Eloi" userId="ebffa7fe-f8f7-4119-8839-7e211feaaa70" providerId="ADAL" clId="{4D906366-F9CF-4249-8917-C501BC4985C1}" dt="2022-02-01T16:27:28.344" v="1841" actId="1037"/>
          <ac:picMkLst>
            <pc:docMk/>
            <pc:sldMk cId="3429431810" sldId="2147229382"/>
            <ac:picMk id="38" creationId="{A72B0EDC-BB60-40F3-96AE-7D432C9585D4}"/>
          </ac:picMkLst>
        </pc:picChg>
        <pc:picChg chg="del">
          <ac:chgData name="JABET, Eloi" userId="ebffa7fe-f8f7-4119-8839-7e211feaaa70" providerId="ADAL" clId="{4D906366-F9CF-4249-8917-C501BC4985C1}" dt="2022-02-01T16:24:49.187" v="1827" actId="478"/>
          <ac:picMkLst>
            <pc:docMk/>
            <pc:sldMk cId="3429431810" sldId="2147229382"/>
            <ac:picMk id="41" creationId="{C854B65E-6B7C-42FE-914A-E7B739B9B00F}"/>
          </ac:picMkLst>
        </pc:picChg>
        <pc:picChg chg="mod">
          <ac:chgData name="JABET, Eloi" userId="ebffa7fe-f8f7-4119-8839-7e211feaaa70" providerId="ADAL" clId="{4D906366-F9CF-4249-8917-C501BC4985C1}" dt="2022-02-01T16:27:19.871" v="1835" actId="14861"/>
          <ac:picMkLst>
            <pc:docMk/>
            <pc:sldMk cId="3429431810" sldId="2147229382"/>
            <ac:picMk id="46" creationId="{034AA762-6BA5-4A5F-AECF-58AE261F4B40}"/>
          </ac:picMkLst>
        </pc:picChg>
        <pc:picChg chg="mod">
          <ac:chgData name="JABET, Eloi" userId="ebffa7fe-f8f7-4119-8839-7e211feaaa70" providerId="ADAL" clId="{4D906366-F9CF-4249-8917-C501BC4985C1}" dt="2022-02-01T16:27:19.871" v="1835" actId="14861"/>
          <ac:picMkLst>
            <pc:docMk/>
            <pc:sldMk cId="3429431810" sldId="2147229382"/>
            <ac:picMk id="1026" creationId="{6729DA25-94E5-493F-B8D3-29D940683E88}"/>
          </ac:picMkLst>
        </pc:picChg>
        <pc:picChg chg="mod">
          <ac:chgData name="JABET, Eloi" userId="ebffa7fe-f8f7-4119-8839-7e211feaaa70" providerId="ADAL" clId="{4D906366-F9CF-4249-8917-C501BC4985C1}" dt="2022-02-01T16:27:19.871" v="1835" actId="14861"/>
          <ac:picMkLst>
            <pc:docMk/>
            <pc:sldMk cId="3429431810" sldId="2147229382"/>
            <ac:picMk id="1028" creationId="{38064A23-259A-4409-93DF-0E161059F1A8}"/>
          </ac:picMkLst>
        </pc:picChg>
      </pc:sldChg>
      <pc:sldChg chg="addSp modSp mod">
        <pc:chgData name="JABET, Eloi" userId="ebffa7fe-f8f7-4119-8839-7e211feaaa70" providerId="ADAL" clId="{4D906366-F9CF-4249-8917-C501BC4985C1}" dt="2022-01-27T08:03:08.927" v="1630" actId="20577"/>
        <pc:sldMkLst>
          <pc:docMk/>
          <pc:sldMk cId="2199849019" sldId="2147229386"/>
        </pc:sldMkLst>
        <pc:spChg chg="add mod">
          <ac:chgData name="JABET, Eloi" userId="ebffa7fe-f8f7-4119-8839-7e211feaaa70" providerId="ADAL" clId="{4D906366-F9CF-4249-8917-C501BC4985C1}" dt="2022-01-27T08:03:08.927" v="1630" actId="20577"/>
          <ac:spMkLst>
            <pc:docMk/>
            <pc:sldMk cId="2199849019" sldId="2147229386"/>
            <ac:spMk id="15" creationId="{CDBC7219-A9E6-45BB-87DB-25973FC36A91}"/>
          </ac:spMkLst>
        </pc:spChg>
      </pc:sldChg>
      <pc:sldChg chg="addSp modSp mod">
        <pc:chgData name="JABET, Eloi" userId="ebffa7fe-f8f7-4119-8839-7e211feaaa70" providerId="ADAL" clId="{4D906366-F9CF-4249-8917-C501BC4985C1}" dt="2022-01-27T08:04:20.756" v="1655" actId="20577"/>
        <pc:sldMkLst>
          <pc:docMk/>
          <pc:sldMk cId="1388088336" sldId="2147229387"/>
        </pc:sldMkLst>
        <pc:spChg chg="add mod">
          <ac:chgData name="JABET, Eloi" userId="ebffa7fe-f8f7-4119-8839-7e211feaaa70" providerId="ADAL" clId="{4D906366-F9CF-4249-8917-C501BC4985C1}" dt="2022-01-27T08:04:20.756" v="1655" actId="20577"/>
          <ac:spMkLst>
            <pc:docMk/>
            <pc:sldMk cId="1388088336" sldId="2147229387"/>
            <ac:spMk id="6" creationId="{8B6B80E8-BAC5-4805-9F9D-0906A933821C}"/>
          </ac:spMkLst>
        </pc:spChg>
      </pc:sldChg>
      <pc:sldChg chg="addSp delSp modSp mod">
        <pc:chgData name="JABET, Eloi" userId="ebffa7fe-f8f7-4119-8839-7e211feaaa70" providerId="ADAL" clId="{4D906366-F9CF-4249-8917-C501BC4985C1}" dt="2022-01-27T08:02:37.870" v="1510" actId="478"/>
        <pc:sldMkLst>
          <pc:docMk/>
          <pc:sldMk cId="2345305854" sldId="2147229389"/>
        </pc:sldMkLst>
        <pc:spChg chg="add del mod">
          <ac:chgData name="JABET, Eloi" userId="ebffa7fe-f8f7-4119-8839-7e211feaaa70" providerId="ADAL" clId="{4D906366-F9CF-4249-8917-C501BC4985C1}" dt="2022-01-27T08:02:37.870" v="1510" actId="478"/>
          <ac:spMkLst>
            <pc:docMk/>
            <pc:sldMk cId="2345305854" sldId="2147229389"/>
            <ac:spMk id="21" creationId="{189A324C-7A31-450C-9615-24238CF052C1}"/>
          </ac:spMkLst>
        </pc:spChg>
      </pc:sldChg>
      <pc:sldChg chg="addSp modSp mod">
        <pc:chgData name="JABET, Eloi" userId="ebffa7fe-f8f7-4119-8839-7e211feaaa70" providerId="ADAL" clId="{4D906366-F9CF-4249-8917-C501BC4985C1}" dt="2022-01-27T07:52:45.194" v="183" actId="20577"/>
        <pc:sldMkLst>
          <pc:docMk/>
          <pc:sldMk cId="4071503139" sldId="2147229391"/>
        </pc:sldMkLst>
        <pc:spChg chg="add mod">
          <ac:chgData name="JABET, Eloi" userId="ebffa7fe-f8f7-4119-8839-7e211feaaa70" providerId="ADAL" clId="{4D906366-F9CF-4249-8917-C501BC4985C1}" dt="2022-01-27T07:52:45.194" v="183" actId="20577"/>
          <ac:spMkLst>
            <pc:docMk/>
            <pc:sldMk cId="4071503139" sldId="2147229391"/>
            <ac:spMk id="4" creationId="{011D7D11-1AD6-4F93-9BDC-78A31821D181}"/>
          </ac:spMkLst>
        </pc:spChg>
      </pc:sldChg>
      <pc:sldChg chg="addSp delSp modSp mod">
        <pc:chgData name="JABET, Eloi" userId="ebffa7fe-f8f7-4119-8839-7e211feaaa70" providerId="ADAL" clId="{4D906366-F9CF-4249-8917-C501BC4985C1}" dt="2022-01-27T07:55:08.430" v="462" actId="478"/>
        <pc:sldMkLst>
          <pc:docMk/>
          <pc:sldMk cId="3693210627" sldId="2147229392"/>
        </pc:sldMkLst>
        <pc:spChg chg="add mod">
          <ac:chgData name="JABET, Eloi" userId="ebffa7fe-f8f7-4119-8839-7e211feaaa70" providerId="ADAL" clId="{4D906366-F9CF-4249-8917-C501BC4985C1}" dt="2022-01-27T07:52:06.755" v="83" actId="20577"/>
          <ac:spMkLst>
            <pc:docMk/>
            <pc:sldMk cId="3693210627" sldId="2147229392"/>
            <ac:spMk id="2" creationId="{F697026E-807C-4486-A40B-825D1A66EC12}"/>
          </ac:spMkLst>
        </pc:spChg>
        <pc:spChg chg="del">
          <ac:chgData name="JABET, Eloi" userId="ebffa7fe-f8f7-4119-8839-7e211feaaa70" providerId="ADAL" clId="{4D906366-F9CF-4249-8917-C501BC4985C1}" dt="2022-01-27T07:55:08.430" v="462" actId="478"/>
          <ac:spMkLst>
            <pc:docMk/>
            <pc:sldMk cId="3693210627" sldId="2147229392"/>
            <ac:spMk id="9" creationId="{00000000-0000-0000-0000-000000000000}"/>
          </ac:spMkLst>
        </pc:spChg>
        <pc:picChg chg="del mod">
          <ac:chgData name="JABET, Eloi" userId="ebffa7fe-f8f7-4119-8839-7e211feaaa70" providerId="ADAL" clId="{4D906366-F9CF-4249-8917-C501BC4985C1}" dt="2022-01-27T07:51:42.744" v="13" actId="478"/>
          <ac:picMkLst>
            <pc:docMk/>
            <pc:sldMk cId="3693210627" sldId="2147229392"/>
            <ac:picMk id="984" creationId="{00000000-0000-0000-0000-000000000000}"/>
          </ac:picMkLst>
        </pc:picChg>
      </pc:sldChg>
      <pc:sldChg chg="addSp modSp mod">
        <pc:chgData name="JABET, Eloi" userId="ebffa7fe-f8f7-4119-8839-7e211feaaa70" providerId="ADAL" clId="{4D906366-F9CF-4249-8917-C501BC4985C1}" dt="2022-01-27T07:55:37.738" v="477" actId="20577"/>
        <pc:sldMkLst>
          <pc:docMk/>
          <pc:sldMk cId="935599861" sldId="2147229393"/>
        </pc:sldMkLst>
        <pc:spChg chg="add mod">
          <ac:chgData name="JABET, Eloi" userId="ebffa7fe-f8f7-4119-8839-7e211feaaa70" providerId="ADAL" clId="{4D906366-F9CF-4249-8917-C501BC4985C1}" dt="2022-01-27T07:55:37.738" v="477" actId="20577"/>
          <ac:spMkLst>
            <pc:docMk/>
            <pc:sldMk cId="935599861" sldId="2147229393"/>
            <ac:spMk id="4" creationId="{9E57C285-1F37-46BA-8DB5-651AED880ED9}"/>
          </ac:spMkLst>
        </pc:spChg>
      </pc:sldChg>
      <pc:sldChg chg="addSp delSp modSp mod">
        <pc:chgData name="JABET, Eloi" userId="ebffa7fe-f8f7-4119-8839-7e211feaaa70" providerId="ADAL" clId="{4D906366-F9CF-4249-8917-C501BC4985C1}" dt="2022-01-31T15:29:45.312" v="1700"/>
        <pc:sldMkLst>
          <pc:docMk/>
          <pc:sldMk cId="101242816" sldId="2147229395"/>
        </pc:sldMkLst>
        <pc:spChg chg="add del mod">
          <ac:chgData name="JABET, Eloi" userId="ebffa7fe-f8f7-4119-8839-7e211feaaa70" providerId="ADAL" clId="{4D906366-F9CF-4249-8917-C501BC4985C1}" dt="2022-01-27T07:58:13.688" v="862" actId="478"/>
          <ac:spMkLst>
            <pc:docMk/>
            <pc:sldMk cId="101242816" sldId="2147229395"/>
            <ac:spMk id="5" creationId="{DC82C5EB-282F-467F-8567-5AF05B1C15B8}"/>
          </ac:spMkLst>
        </pc:spChg>
        <pc:spChg chg="mod">
          <ac:chgData name="JABET, Eloi" userId="ebffa7fe-f8f7-4119-8839-7e211feaaa70" providerId="ADAL" clId="{4D906366-F9CF-4249-8917-C501BC4985C1}" dt="2022-01-31T15:29:45.312" v="1700"/>
          <ac:spMkLst>
            <pc:docMk/>
            <pc:sldMk cId="101242816" sldId="2147229395"/>
            <ac:spMk id="76" creationId="{6068F212-2BCB-4CDD-9019-4A7B22252EDC}"/>
          </ac:spMkLst>
        </pc:spChg>
      </pc:sldChg>
      <pc:sldChg chg="addSp modSp mod">
        <pc:chgData name="JABET, Eloi" userId="ebffa7fe-f8f7-4119-8839-7e211feaaa70" providerId="ADAL" clId="{4D906366-F9CF-4249-8917-C501BC4985C1}" dt="2022-01-31T15:29:45.312" v="1700"/>
        <pc:sldMkLst>
          <pc:docMk/>
          <pc:sldMk cId="1649805037" sldId="2147229397"/>
        </pc:sldMkLst>
        <pc:spChg chg="add mod">
          <ac:chgData name="JABET, Eloi" userId="ebffa7fe-f8f7-4119-8839-7e211feaaa70" providerId="ADAL" clId="{4D906366-F9CF-4249-8917-C501BC4985C1}" dt="2022-01-27T07:59:17.826" v="1013" actId="20577"/>
          <ac:spMkLst>
            <pc:docMk/>
            <pc:sldMk cId="1649805037" sldId="2147229397"/>
            <ac:spMk id="8" creationId="{EF59DD5F-542F-4275-96D1-2DD2FC1FF44F}"/>
          </ac:spMkLst>
        </pc:spChg>
        <pc:spChg chg="add mod">
          <ac:chgData name="JABET, Eloi" userId="ebffa7fe-f8f7-4119-8839-7e211feaaa70" providerId="ADAL" clId="{4D906366-F9CF-4249-8917-C501BC4985C1}" dt="2022-01-27T07:59:58.612" v="1124" actId="20577"/>
          <ac:spMkLst>
            <pc:docMk/>
            <pc:sldMk cId="1649805037" sldId="2147229397"/>
            <ac:spMk id="10" creationId="{68B83AF7-81B7-4157-B1C1-325E9F1028C3}"/>
          </ac:spMkLst>
        </pc:spChg>
        <pc:spChg chg="mod">
          <ac:chgData name="JABET, Eloi" userId="ebffa7fe-f8f7-4119-8839-7e211feaaa70" providerId="ADAL" clId="{4D906366-F9CF-4249-8917-C501BC4985C1}" dt="2022-01-31T15:29:45.312" v="1700"/>
          <ac:spMkLst>
            <pc:docMk/>
            <pc:sldMk cId="1649805037" sldId="2147229397"/>
            <ac:spMk id="76" creationId="{6068F212-2BCB-4CDD-9019-4A7B22252EDC}"/>
          </ac:spMkLst>
        </pc:spChg>
      </pc:sldChg>
      <pc:sldChg chg="modSp">
        <pc:chgData name="JABET, Eloi" userId="ebffa7fe-f8f7-4119-8839-7e211feaaa70" providerId="ADAL" clId="{4D906366-F9CF-4249-8917-C501BC4985C1}" dt="2022-01-31T15:29:45.312" v="1700"/>
        <pc:sldMkLst>
          <pc:docMk/>
          <pc:sldMk cId="1375175804" sldId="2147229398"/>
        </pc:sldMkLst>
        <pc:spChg chg="mod">
          <ac:chgData name="JABET, Eloi" userId="ebffa7fe-f8f7-4119-8839-7e211feaaa70" providerId="ADAL" clId="{4D906366-F9CF-4249-8917-C501BC4985C1}" dt="2022-01-31T15:29:45.312" v="1700"/>
          <ac:spMkLst>
            <pc:docMk/>
            <pc:sldMk cId="1375175804" sldId="2147229398"/>
            <ac:spMk id="31" creationId="{545E76E4-F960-4AD3-B1A0-F9BDDF9EADC7}"/>
          </ac:spMkLst>
        </pc:spChg>
      </pc:sldChg>
      <pc:sldChg chg="addSp delSp mod">
        <pc:chgData name="JABET, Eloi" userId="ebffa7fe-f8f7-4119-8839-7e211feaaa70" providerId="ADAL" clId="{4D906366-F9CF-4249-8917-C501BC4985C1}" dt="2022-01-31T16:14:37.185" v="1819" actId="478"/>
        <pc:sldMkLst>
          <pc:docMk/>
          <pc:sldMk cId="2008408538" sldId="2147229404"/>
        </pc:sldMkLst>
        <pc:picChg chg="add del">
          <ac:chgData name="JABET, Eloi" userId="ebffa7fe-f8f7-4119-8839-7e211feaaa70" providerId="ADAL" clId="{4D906366-F9CF-4249-8917-C501BC4985C1}" dt="2022-01-31T16:14:23.602" v="1817" actId="478"/>
          <ac:picMkLst>
            <pc:docMk/>
            <pc:sldMk cId="2008408538" sldId="2147229404"/>
            <ac:picMk id="4" creationId="{A750178C-4DF8-4A71-8A76-5FF79C50F441}"/>
          </ac:picMkLst>
        </pc:picChg>
        <pc:picChg chg="add del">
          <ac:chgData name="JABET, Eloi" userId="ebffa7fe-f8f7-4119-8839-7e211feaaa70" providerId="ADAL" clId="{4D906366-F9CF-4249-8917-C501BC4985C1}" dt="2022-01-31T16:14:37.185" v="1819" actId="478"/>
          <ac:picMkLst>
            <pc:docMk/>
            <pc:sldMk cId="2008408538" sldId="2147229404"/>
            <ac:picMk id="5" creationId="{3E66A957-114C-434C-A904-B4866F01DCC8}"/>
          </ac:picMkLst>
        </pc:picChg>
      </pc:sldChg>
      <pc:sldChg chg="modSp">
        <pc:chgData name="JABET, Eloi" userId="ebffa7fe-f8f7-4119-8839-7e211feaaa70" providerId="ADAL" clId="{4D906366-F9CF-4249-8917-C501BC4985C1}" dt="2022-01-31T15:29:45.312" v="1700"/>
        <pc:sldMkLst>
          <pc:docMk/>
          <pc:sldMk cId="4109764176" sldId="2147229408"/>
        </pc:sldMkLst>
        <pc:spChg chg="mod">
          <ac:chgData name="JABET, Eloi" userId="ebffa7fe-f8f7-4119-8839-7e211feaaa70" providerId="ADAL" clId="{4D906366-F9CF-4249-8917-C501BC4985C1}" dt="2022-01-31T15:29:45.312" v="1700"/>
          <ac:spMkLst>
            <pc:docMk/>
            <pc:sldMk cId="4109764176" sldId="2147229408"/>
            <ac:spMk id="27" creationId="{19D7E913-40E6-4F1C-8009-0881FADBB26A}"/>
          </ac:spMkLst>
        </pc:spChg>
      </pc:sldChg>
      <pc:sldChg chg="modSp">
        <pc:chgData name="JABET, Eloi" userId="ebffa7fe-f8f7-4119-8839-7e211feaaa70" providerId="ADAL" clId="{4D906366-F9CF-4249-8917-C501BC4985C1}" dt="2022-01-31T15:29:45.312" v="1700"/>
        <pc:sldMkLst>
          <pc:docMk/>
          <pc:sldMk cId="1128458317" sldId="2147229410"/>
        </pc:sldMkLst>
        <pc:spChg chg="mod">
          <ac:chgData name="JABET, Eloi" userId="ebffa7fe-f8f7-4119-8839-7e211feaaa70" providerId="ADAL" clId="{4D906366-F9CF-4249-8917-C501BC4985C1}" dt="2022-01-31T15:29:45.312" v="1700"/>
          <ac:spMkLst>
            <pc:docMk/>
            <pc:sldMk cId="1128458317" sldId="2147229410"/>
            <ac:spMk id="8" creationId="{EBD51FE3-0C7C-4E2D-962B-E49934EA2DFC}"/>
          </ac:spMkLst>
        </pc:spChg>
        <pc:spChg chg="mod">
          <ac:chgData name="JABET, Eloi" userId="ebffa7fe-f8f7-4119-8839-7e211feaaa70" providerId="ADAL" clId="{4D906366-F9CF-4249-8917-C501BC4985C1}" dt="2022-01-31T15:29:45.312" v="1700"/>
          <ac:spMkLst>
            <pc:docMk/>
            <pc:sldMk cId="1128458317" sldId="2147229410"/>
            <ac:spMk id="14" creationId="{4C420B6D-E27F-4B66-86D9-4F0FF66D9FA6}"/>
          </ac:spMkLst>
        </pc:spChg>
        <pc:spChg chg="mod">
          <ac:chgData name="JABET, Eloi" userId="ebffa7fe-f8f7-4119-8839-7e211feaaa70" providerId="ADAL" clId="{4D906366-F9CF-4249-8917-C501BC4985C1}" dt="2022-01-31T15:29:45.312" v="1700"/>
          <ac:spMkLst>
            <pc:docMk/>
            <pc:sldMk cId="1128458317" sldId="2147229410"/>
            <ac:spMk id="983" creationId="{00000000-0000-0000-0000-000000000000}"/>
          </ac:spMkLst>
        </pc:spChg>
      </pc:sldChg>
      <pc:sldChg chg="modSp">
        <pc:chgData name="JABET, Eloi" userId="ebffa7fe-f8f7-4119-8839-7e211feaaa70" providerId="ADAL" clId="{4D906366-F9CF-4249-8917-C501BC4985C1}" dt="2022-01-31T15:29:45.312" v="1700"/>
        <pc:sldMkLst>
          <pc:docMk/>
          <pc:sldMk cId="3782416445" sldId="2147229411"/>
        </pc:sldMkLst>
        <pc:spChg chg="mod">
          <ac:chgData name="JABET, Eloi" userId="ebffa7fe-f8f7-4119-8839-7e211feaaa70" providerId="ADAL" clId="{4D906366-F9CF-4249-8917-C501BC4985C1}" dt="2022-01-31T15:29:45.312" v="1700"/>
          <ac:spMkLst>
            <pc:docMk/>
            <pc:sldMk cId="3782416445" sldId="2147229411"/>
            <ac:spMk id="8" creationId="{EBD51FE3-0C7C-4E2D-962B-E49934EA2DFC}"/>
          </ac:spMkLst>
        </pc:spChg>
        <pc:spChg chg="mod">
          <ac:chgData name="JABET, Eloi" userId="ebffa7fe-f8f7-4119-8839-7e211feaaa70" providerId="ADAL" clId="{4D906366-F9CF-4249-8917-C501BC4985C1}" dt="2022-01-31T15:29:45.312" v="1700"/>
          <ac:spMkLst>
            <pc:docMk/>
            <pc:sldMk cId="3782416445" sldId="2147229411"/>
            <ac:spMk id="983" creationId="{00000000-0000-0000-0000-000000000000}"/>
          </ac:spMkLst>
        </pc:spChg>
      </pc:sldChg>
      <pc:sldChg chg="modSp">
        <pc:chgData name="JABET, Eloi" userId="ebffa7fe-f8f7-4119-8839-7e211feaaa70" providerId="ADAL" clId="{4D906366-F9CF-4249-8917-C501BC4985C1}" dt="2022-01-31T15:29:45.312" v="1700"/>
        <pc:sldMkLst>
          <pc:docMk/>
          <pc:sldMk cId="2548310713" sldId="2147229412"/>
        </pc:sldMkLst>
        <pc:spChg chg="mod">
          <ac:chgData name="JABET, Eloi" userId="ebffa7fe-f8f7-4119-8839-7e211feaaa70" providerId="ADAL" clId="{4D906366-F9CF-4249-8917-C501BC4985C1}" dt="2022-01-31T15:29:45.312" v="1700"/>
          <ac:spMkLst>
            <pc:docMk/>
            <pc:sldMk cId="2548310713" sldId="2147229412"/>
            <ac:spMk id="8" creationId="{EBD51FE3-0C7C-4E2D-962B-E49934EA2DFC}"/>
          </ac:spMkLst>
        </pc:spChg>
        <pc:spChg chg="mod">
          <ac:chgData name="JABET, Eloi" userId="ebffa7fe-f8f7-4119-8839-7e211feaaa70" providerId="ADAL" clId="{4D906366-F9CF-4249-8917-C501BC4985C1}" dt="2022-01-31T15:29:45.312" v="1700"/>
          <ac:spMkLst>
            <pc:docMk/>
            <pc:sldMk cId="2548310713" sldId="2147229412"/>
            <ac:spMk id="983" creationId="{00000000-0000-0000-0000-000000000000}"/>
          </ac:spMkLst>
        </pc:spChg>
      </pc:sldChg>
      <pc:sldChg chg="modSp">
        <pc:chgData name="JABET, Eloi" userId="ebffa7fe-f8f7-4119-8839-7e211feaaa70" providerId="ADAL" clId="{4D906366-F9CF-4249-8917-C501BC4985C1}" dt="2022-01-31T15:29:45.312" v="1700"/>
        <pc:sldMkLst>
          <pc:docMk/>
          <pc:sldMk cId="3665686530" sldId="2147229413"/>
        </pc:sldMkLst>
        <pc:spChg chg="mod">
          <ac:chgData name="JABET, Eloi" userId="ebffa7fe-f8f7-4119-8839-7e211feaaa70" providerId="ADAL" clId="{4D906366-F9CF-4249-8917-C501BC4985C1}" dt="2022-01-31T15:29:45.312" v="1700"/>
          <ac:spMkLst>
            <pc:docMk/>
            <pc:sldMk cId="3665686530" sldId="2147229413"/>
            <ac:spMk id="6" creationId="{1B2BCC9A-A710-46AA-8545-3BF4858A0C07}"/>
          </ac:spMkLst>
        </pc:spChg>
        <pc:spChg chg="mod">
          <ac:chgData name="JABET, Eloi" userId="ebffa7fe-f8f7-4119-8839-7e211feaaa70" providerId="ADAL" clId="{4D906366-F9CF-4249-8917-C501BC4985C1}" dt="2022-01-31T15:29:45.312" v="1700"/>
          <ac:spMkLst>
            <pc:docMk/>
            <pc:sldMk cId="3665686530" sldId="2147229413"/>
            <ac:spMk id="8" creationId="{EBD51FE3-0C7C-4E2D-962B-E49934EA2DFC}"/>
          </ac:spMkLst>
        </pc:spChg>
        <pc:spChg chg="mod">
          <ac:chgData name="JABET, Eloi" userId="ebffa7fe-f8f7-4119-8839-7e211feaaa70" providerId="ADAL" clId="{4D906366-F9CF-4249-8917-C501BC4985C1}" dt="2022-01-31T15:29:45.312" v="1700"/>
          <ac:spMkLst>
            <pc:docMk/>
            <pc:sldMk cId="3665686530" sldId="2147229413"/>
            <ac:spMk id="983" creationId="{00000000-0000-0000-0000-000000000000}"/>
          </ac:spMkLst>
        </pc:spChg>
      </pc:sldChg>
      <pc:sldChg chg="modSp mod">
        <pc:chgData name="JABET, Eloi" userId="ebffa7fe-f8f7-4119-8839-7e211feaaa70" providerId="ADAL" clId="{4D906366-F9CF-4249-8917-C501BC4985C1}" dt="2022-01-31T15:29:45.312" v="1700"/>
        <pc:sldMkLst>
          <pc:docMk/>
          <pc:sldMk cId="3931396647" sldId="2147229415"/>
        </pc:sldMkLst>
        <pc:spChg chg="mod">
          <ac:chgData name="JABET, Eloi" userId="ebffa7fe-f8f7-4119-8839-7e211feaaa70" providerId="ADAL" clId="{4D906366-F9CF-4249-8917-C501BC4985C1}" dt="2022-01-31T15:29:45.312" v="1700"/>
          <ac:spMkLst>
            <pc:docMk/>
            <pc:sldMk cId="3931396647" sldId="2147229415"/>
            <ac:spMk id="8" creationId="{3C0BE979-B0BF-477E-8C4A-17FB5793C8F7}"/>
          </ac:spMkLst>
        </pc:spChg>
        <pc:picChg chg="mod">
          <ac:chgData name="JABET, Eloi" userId="ebffa7fe-f8f7-4119-8839-7e211feaaa70" providerId="ADAL" clId="{4D906366-F9CF-4249-8917-C501BC4985C1}" dt="2022-01-31T15:23:20.537" v="1676" actId="1037"/>
          <ac:picMkLst>
            <pc:docMk/>
            <pc:sldMk cId="3931396647" sldId="2147229415"/>
            <ac:picMk id="14" creationId="{0C3FF001-5BA0-48AF-BC04-772148B08212}"/>
          </ac:picMkLst>
        </pc:picChg>
      </pc:sldChg>
      <pc:sldChg chg="del">
        <pc:chgData name="JABET, Eloi" userId="ebffa7fe-f8f7-4119-8839-7e211feaaa70" providerId="ADAL" clId="{4D906366-F9CF-4249-8917-C501BC4985C1}" dt="2022-01-31T15:23:29.956" v="1679" actId="47"/>
        <pc:sldMkLst>
          <pc:docMk/>
          <pc:sldMk cId="2498283456" sldId="2147229416"/>
        </pc:sldMkLst>
      </pc:sldChg>
      <pc:sldChg chg="delSp del mod">
        <pc:chgData name="JABET, Eloi" userId="ebffa7fe-f8f7-4119-8839-7e211feaaa70" providerId="ADAL" clId="{4D906366-F9CF-4249-8917-C501BC4985C1}" dt="2022-01-31T15:24:23.775" v="1698" actId="47"/>
        <pc:sldMkLst>
          <pc:docMk/>
          <pc:sldMk cId="4077467553" sldId="2147229417"/>
        </pc:sldMkLst>
        <pc:spChg chg="del">
          <ac:chgData name="JABET, Eloi" userId="ebffa7fe-f8f7-4119-8839-7e211feaaa70" providerId="ADAL" clId="{4D906366-F9CF-4249-8917-C501BC4985C1}" dt="2022-01-31T15:24:20.515" v="1696" actId="21"/>
          <ac:spMkLst>
            <pc:docMk/>
            <pc:sldMk cId="4077467553" sldId="2147229417"/>
            <ac:spMk id="12" creationId="{4E939327-1678-44F9-B3F3-671FEA5FEDCD}"/>
          </ac:spMkLst>
        </pc:spChg>
      </pc:sldChg>
      <pc:sldChg chg="delSp del mod">
        <pc:chgData name="JABET, Eloi" userId="ebffa7fe-f8f7-4119-8839-7e211feaaa70" providerId="ADAL" clId="{4D906366-F9CF-4249-8917-C501BC4985C1}" dt="2022-01-31T15:24:18.172" v="1695" actId="47"/>
        <pc:sldMkLst>
          <pc:docMk/>
          <pc:sldMk cId="1721120685" sldId="2147229418"/>
        </pc:sldMkLst>
        <pc:spChg chg="del">
          <ac:chgData name="JABET, Eloi" userId="ebffa7fe-f8f7-4119-8839-7e211feaaa70" providerId="ADAL" clId="{4D906366-F9CF-4249-8917-C501BC4985C1}" dt="2022-01-31T15:24:13.749" v="1693" actId="21"/>
          <ac:spMkLst>
            <pc:docMk/>
            <pc:sldMk cId="1721120685" sldId="2147229418"/>
            <ac:spMk id="11" creationId="{43E4CF7A-F6D7-48C1-9524-5AFBA0BA107F}"/>
          </ac:spMkLst>
        </pc:spChg>
      </pc:sldChg>
      <pc:sldChg chg="delSp del mod">
        <pc:chgData name="JABET, Eloi" userId="ebffa7fe-f8f7-4119-8839-7e211feaaa70" providerId="ADAL" clId="{4D906366-F9CF-4249-8917-C501BC4985C1}" dt="2022-01-31T15:24:10.322" v="1692" actId="47"/>
        <pc:sldMkLst>
          <pc:docMk/>
          <pc:sldMk cId="792118489" sldId="2147229419"/>
        </pc:sldMkLst>
        <pc:spChg chg="del">
          <ac:chgData name="JABET, Eloi" userId="ebffa7fe-f8f7-4119-8839-7e211feaaa70" providerId="ADAL" clId="{4D906366-F9CF-4249-8917-C501BC4985C1}" dt="2022-01-31T15:24:06.859" v="1690" actId="21"/>
          <ac:spMkLst>
            <pc:docMk/>
            <pc:sldMk cId="792118489" sldId="2147229419"/>
            <ac:spMk id="11" creationId="{43E4CF7A-F6D7-48C1-9524-5AFBA0BA107F}"/>
          </ac:spMkLst>
        </pc:spChg>
      </pc:sldChg>
      <pc:sldChg chg="del">
        <pc:chgData name="JABET, Eloi" userId="ebffa7fe-f8f7-4119-8839-7e211feaaa70" providerId="ADAL" clId="{4D906366-F9CF-4249-8917-C501BC4985C1}" dt="2022-01-31T15:24:02.500" v="1689" actId="47"/>
        <pc:sldMkLst>
          <pc:docMk/>
          <pc:sldMk cId="3517051284" sldId="2147229420"/>
        </pc:sldMkLst>
      </pc:sldChg>
      <pc:sldChg chg="addSp modSp add">
        <pc:chgData name="JABET, Eloi" userId="ebffa7fe-f8f7-4119-8839-7e211feaaa70" providerId="ADAL" clId="{4D906366-F9CF-4249-8917-C501BC4985C1}" dt="2022-01-31T15:29:45.312" v="1700"/>
        <pc:sldMkLst>
          <pc:docMk/>
          <pc:sldMk cId="1994343616" sldId="2147229425"/>
        </pc:sldMkLst>
        <pc:spChg chg="mod">
          <ac:chgData name="JABET, Eloi" userId="ebffa7fe-f8f7-4119-8839-7e211feaaa70" providerId="ADAL" clId="{4D906366-F9CF-4249-8917-C501BC4985C1}" dt="2022-01-31T15:29:45.312" v="1700"/>
          <ac:spMkLst>
            <pc:docMk/>
            <pc:sldMk cId="1994343616" sldId="2147229425"/>
            <ac:spMk id="8" creationId="{3C0BE979-B0BF-477E-8C4A-17FB5793C8F7}"/>
          </ac:spMkLst>
        </pc:spChg>
        <pc:spChg chg="add mod">
          <ac:chgData name="JABET, Eloi" userId="ebffa7fe-f8f7-4119-8839-7e211feaaa70" providerId="ADAL" clId="{4D906366-F9CF-4249-8917-C501BC4985C1}" dt="2022-01-31T15:23:28.165" v="1678"/>
          <ac:spMkLst>
            <pc:docMk/>
            <pc:sldMk cId="1994343616" sldId="2147229425"/>
            <ac:spMk id="11" creationId="{ADAE061B-18C3-46AB-A67C-36192C747440}"/>
          </ac:spMkLst>
        </pc:spChg>
      </pc:sldChg>
      <pc:sldChg chg="addSp delSp modSp add del">
        <pc:chgData name="JABET, Eloi" userId="ebffa7fe-f8f7-4119-8839-7e211feaaa70" providerId="ADAL" clId="{4D906366-F9CF-4249-8917-C501BC4985C1}" dt="2022-01-31T15:23:42.756" v="1683" actId="47"/>
        <pc:sldMkLst>
          <pc:docMk/>
          <pc:sldMk cId="30090834" sldId="2147229426"/>
        </pc:sldMkLst>
        <pc:spChg chg="add del mod">
          <ac:chgData name="JABET, Eloi" userId="ebffa7fe-f8f7-4119-8839-7e211feaaa70" providerId="ADAL" clId="{4D906366-F9CF-4249-8917-C501BC4985C1}" dt="2022-01-31T15:23:39.594" v="1682"/>
          <ac:spMkLst>
            <pc:docMk/>
            <pc:sldMk cId="30090834" sldId="2147229426"/>
            <ac:spMk id="12" creationId="{E0D2937C-A540-4E3E-A646-4D06F2216A52}"/>
          </ac:spMkLst>
        </pc:spChg>
      </pc:sldChg>
      <pc:sldChg chg="addSp modSp add">
        <pc:chgData name="JABET, Eloi" userId="ebffa7fe-f8f7-4119-8839-7e211feaaa70" providerId="ADAL" clId="{4D906366-F9CF-4249-8917-C501BC4985C1}" dt="2022-01-31T15:29:45.312" v="1700"/>
        <pc:sldMkLst>
          <pc:docMk/>
          <pc:sldMk cId="3997539569" sldId="2147229426"/>
        </pc:sldMkLst>
        <pc:spChg chg="mod">
          <ac:chgData name="JABET, Eloi" userId="ebffa7fe-f8f7-4119-8839-7e211feaaa70" providerId="ADAL" clId="{4D906366-F9CF-4249-8917-C501BC4985C1}" dt="2022-01-31T15:29:45.312" v="1700"/>
          <ac:spMkLst>
            <pc:docMk/>
            <pc:sldMk cId="3997539569" sldId="2147229426"/>
            <ac:spMk id="8" creationId="{3C0BE979-B0BF-477E-8C4A-17FB5793C8F7}"/>
          </ac:spMkLst>
        </pc:spChg>
        <pc:spChg chg="add mod">
          <ac:chgData name="JABET, Eloi" userId="ebffa7fe-f8f7-4119-8839-7e211feaaa70" providerId="ADAL" clId="{4D906366-F9CF-4249-8917-C501BC4985C1}" dt="2022-01-31T15:24:21.798" v="1697"/>
          <ac:spMkLst>
            <pc:docMk/>
            <pc:sldMk cId="3997539569" sldId="2147229426"/>
            <ac:spMk id="11" creationId="{82677519-E574-41BC-AE31-F9269E30BDC0}"/>
          </ac:spMkLst>
        </pc:spChg>
      </pc:sldChg>
      <pc:sldChg chg="addSp modSp add">
        <pc:chgData name="JABET, Eloi" userId="ebffa7fe-f8f7-4119-8839-7e211feaaa70" providerId="ADAL" clId="{4D906366-F9CF-4249-8917-C501BC4985C1}" dt="2022-01-31T15:29:45.312" v="1700"/>
        <pc:sldMkLst>
          <pc:docMk/>
          <pc:sldMk cId="2757447634" sldId="2147229427"/>
        </pc:sldMkLst>
        <pc:spChg chg="mod">
          <ac:chgData name="JABET, Eloi" userId="ebffa7fe-f8f7-4119-8839-7e211feaaa70" providerId="ADAL" clId="{4D906366-F9CF-4249-8917-C501BC4985C1}" dt="2022-01-31T15:29:45.312" v="1700"/>
          <ac:spMkLst>
            <pc:docMk/>
            <pc:sldMk cId="2757447634" sldId="2147229427"/>
            <ac:spMk id="8" creationId="{3C0BE979-B0BF-477E-8C4A-17FB5793C8F7}"/>
          </ac:spMkLst>
        </pc:spChg>
        <pc:spChg chg="add mod">
          <ac:chgData name="JABET, Eloi" userId="ebffa7fe-f8f7-4119-8839-7e211feaaa70" providerId="ADAL" clId="{4D906366-F9CF-4249-8917-C501BC4985C1}" dt="2022-01-31T15:24:16.208" v="1694"/>
          <ac:spMkLst>
            <pc:docMk/>
            <pc:sldMk cId="2757447634" sldId="2147229427"/>
            <ac:spMk id="11" creationId="{9A1C5234-2C9E-4C0D-89C7-E4207C9941A8}"/>
          </ac:spMkLst>
        </pc:spChg>
      </pc:sldChg>
      <pc:sldChg chg="addSp modSp add">
        <pc:chgData name="JABET, Eloi" userId="ebffa7fe-f8f7-4119-8839-7e211feaaa70" providerId="ADAL" clId="{4D906366-F9CF-4249-8917-C501BC4985C1}" dt="2022-01-31T15:29:45.312" v="1700"/>
        <pc:sldMkLst>
          <pc:docMk/>
          <pc:sldMk cId="1487649685" sldId="2147229428"/>
        </pc:sldMkLst>
        <pc:spChg chg="mod">
          <ac:chgData name="JABET, Eloi" userId="ebffa7fe-f8f7-4119-8839-7e211feaaa70" providerId="ADAL" clId="{4D906366-F9CF-4249-8917-C501BC4985C1}" dt="2022-01-31T15:29:45.312" v="1700"/>
          <ac:spMkLst>
            <pc:docMk/>
            <pc:sldMk cId="1487649685" sldId="2147229428"/>
            <ac:spMk id="8" creationId="{3C0BE979-B0BF-477E-8C4A-17FB5793C8F7}"/>
          </ac:spMkLst>
        </pc:spChg>
        <pc:spChg chg="add mod">
          <ac:chgData name="JABET, Eloi" userId="ebffa7fe-f8f7-4119-8839-7e211feaaa70" providerId="ADAL" clId="{4D906366-F9CF-4249-8917-C501BC4985C1}" dt="2022-01-31T15:24:08.181" v="1691"/>
          <ac:spMkLst>
            <pc:docMk/>
            <pc:sldMk cId="1487649685" sldId="2147229428"/>
            <ac:spMk id="11" creationId="{32B9CD86-6A37-4388-B4C8-C9A3296CEB22}"/>
          </ac:spMkLst>
        </pc:spChg>
      </pc:sldChg>
      <pc:sldChg chg="addSp modSp add">
        <pc:chgData name="JABET, Eloi" userId="ebffa7fe-f8f7-4119-8839-7e211feaaa70" providerId="ADAL" clId="{4D906366-F9CF-4249-8917-C501BC4985C1}" dt="2022-01-31T15:29:45.312" v="1700"/>
        <pc:sldMkLst>
          <pc:docMk/>
          <pc:sldMk cId="2851188495" sldId="2147229429"/>
        </pc:sldMkLst>
        <pc:spChg chg="mod">
          <ac:chgData name="JABET, Eloi" userId="ebffa7fe-f8f7-4119-8839-7e211feaaa70" providerId="ADAL" clId="{4D906366-F9CF-4249-8917-C501BC4985C1}" dt="2022-01-31T15:29:45.312" v="1700"/>
          <ac:spMkLst>
            <pc:docMk/>
            <pc:sldMk cId="2851188495" sldId="2147229429"/>
            <ac:spMk id="8" creationId="{3C0BE979-B0BF-477E-8C4A-17FB5793C8F7}"/>
          </ac:spMkLst>
        </pc:spChg>
        <pc:spChg chg="add mod">
          <ac:chgData name="JABET, Eloi" userId="ebffa7fe-f8f7-4119-8839-7e211feaaa70" providerId="ADAL" clId="{4D906366-F9CF-4249-8917-C501BC4985C1}" dt="2022-01-31T15:24:00.856" v="1688"/>
          <ac:spMkLst>
            <pc:docMk/>
            <pc:sldMk cId="2851188495" sldId="2147229429"/>
            <ac:spMk id="11" creationId="{4EDAFD50-BB91-40FA-92CB-CC791BEF6AE3}"/>
          </ac:spMkLst>
        </pc:spChg>
      </pc:sldChg>
    </pc:docChg>
  </pc:docChgLst>
  <pc:docChgLst>
    <pc:chgData name="KA, Alioune" userId="fe37275f-539e-4a12-8419-9118552aec31" providerId="ADAL" clId="{B8D22F86-0B0F-0246-8A3B-1B94568E5AB2}"/>
    <pc:docChg chg="undo custSel addSld delSld modSld sldOrd">
      <pc:chgData name="KA, Alioune" userId="fe37275f-539e-4a12-8419-9118552aec31" providerId="ADAL" clId="{B8D22F86-0B0F-0246-8A3B-1B94568E5AB2}" dt="2022-02-28T11:33:36.154" v="2914" actId="1035"/>
      <pc:docMkLst>
        <pc:docMk/>
      </pc:docMkLst>
      <pc:sldChg chg="addSp modSp mod">
        <pc:chgData name="KA, Alioune" userId="fe37275f-539e-4a12-8419-9118552aec31" providerId="ADAL" clId="{B8D22F86-0B0F-0246-8A3B-1B94568E5AB2}" dt="2022-02-24T09:50:49.908" v="232" actId="1036"/>
        <pc:sldMkLst>
          <pc:docMk/>
          <pc:sldMk cId="3429431810" sldId="2147229382"/>
        </pc:sldMkLst>
        <pc:spChg chg="add mod">
          <ac:chgData name="KA, Alioune" userId="fe37275f-539e-4a12-8419-9118552aec31" providerId="ADAL" clId="{B8D22F86-0B0F-0246-8A3B-1B94568E5AB2}" dt="2022-02-24T09:50:49.908" v="232" actId="1036"/>
          <ac:spMkLst>
            <pc:docMk/>
            <pc:sldMk cId="3429431810" sldId="2147229382"/>
            <ac:spMk id="29" creationId="{C8029EC2-5C67-0146-8555-44867B15A567}"/>
          </ac:spMkLst>
        </pc:spChg>
      </pc:sldChg>
      <pc:sldChg chg="delSp mod ord">
        <pc:chgData name="KA, Alioune" userId="fe37275f-539e-4a12-8419-9118552aec31" providerId="ADAL" clId="{B8D22F86-0B0F-0246-8A3B-1B94568E5AB2}" dt="2022-02-24T10:29:47.359" v="2331" actId="20578"/>
        <pc:sldMkLst>
          <pc:docMk/>
          <pc:sldMk cId="2345305854" sldId="2147229389"/>
        </pc:sldMkLst>
        <pc:spChg chg="del">
          <ac:chgData name="KA, Alioune" userId="fe37275f-539e-4a12-8419-9118552aec31" providerId="ADAL" clId="{B8D22F86-0B0F-0246-8A3B-1B94568E5AB2}" dt="2022-02-24T10:29:31.172" v="2327" actId="478"/>
          <ac:spMkLst>
            <pc:docMk/>
            <pc:sldMk cId="2345305854" sldId="2147229389"/>
            <ac:spMk id="7" creationId="{4A1F08A6-A4A4-48FA-A49C-169A6769FB39}"/>
          </ac:spMkLst>
        </pc:spChg>
        <pc:spChg chg="del">
          <ac:chgData name="KA, Alioune" userId="fe37275f-539e-4a12-8419-9118552aec31" providerId="ADAL" clId="{B8D22F86-0B0F-0246-8A3B-1B94568E5AB2}" dt="2022-02-24T10:29:36.936" v="2328" actId="478"/>
          <ac:spMkLst>
            <pc:docMk/>
            <pc:sldMk cId="2345305854" sldId="2147229389"/>
            <ac:spMk id="10" creationId="{EE88C3D3-1825-4E9E-B761-E5560D5834D0}"/>
          </ac:spMkLst>
        </pc:spChg>
        <pc:spChg chg="del">
          <ac:chgData name="KA, Alioune" userId="fe37275f-539e-4a12-8419-9118552aec31" providerId="ADAL" clId="{B8D22F86-0B0F-0246-8A3B-1B94568E5AB2}" dt="2022-02-24T10:29:39.887" v="2329" actId="478"/>
          <ac:spMkLst>
            <pc:docMk/>
            <pc:sldMk cId="2345305854" sldId="2147229389"/>
            <ac:spMk id="13" creationId="{C1A13EA3-827C-4544-9217-53A5DC46156F}"/>
          </ac:spMkLst>
        </pc:spChg>
        <pc:picChg chg="del">
          <ac:chgData name="KA, Alioune" userId="fe37275f-539e-4a12-8419-9118552aec31" providerId="ADAL" clId="{B8D22F86-0B0F-0246-8A3B-1B94568E5AB2}" dt="2022-02-24T10:29:41.419" v="2330" actId="478"/>
          <ac:picMkLst>
            <pc:docMk/>
            <pc:sldMk cId="2345305854" sldId="2147229389"/>
            <ac:picMk id="24" creationId="{D38286FB-3E08-480F-865A-43387A22C499}"/>
          </ac:picMkLst>
        </pc:picChg>
      </pc:sldChg>
      <pc:sldChg chg="del">
        <pc:chgData name="KA, Alioune" userId="fe37275f-539e-4a12-8419-9118552aec31" providerId="ADAL" clId="{B8D22F86-0B0F-0246-8A3B-1B94568E5AB2}" dt="2022-02-24T10:29:22.133" v="2326" actId="2696"/>
        <pc:sldMkLst>
          <pc:docMk/>
          <pc:sldMk cId="1375175804" sldId="2147229398"/>
        </pc:sldMkLst>
      </pc:sldChg>
      <pc:sldChg chg="addSp modSp mod">
        <pc:chgData name="KA, Alioune" userId="fe37275f-539e-4a12-8419-9118552aec31" providerId="ADAL" clId="{B8D22F86-0B0F-0246-8A3B-1B94568E5AB2}" dt="2022-02-24T09:49:25.955" v="230" actId="20577"/>
        <pc:sldMkLst>
          <pc:docMk/>
          <pc:sldMk cId="1128458317" sldId="2147229410"/>
        </pc:sldMkLst>
        <pc:spChg chg="add mod">
          <ac:chgData name="KA, Alioune" userId="fe37275f-539e-4a12-8419-9118552aec31" providerId="ADAL" clId="{B8D22F86-0B0F-0246-8A3B-1B94568E5AB2}" dt="2022-02-24T09:49:25.955" v="230" actId="20577"/>
          <ac:spMkLst>
            <pc:docMk/>
            <pc:sldMk cId="1128458317" sldId="2147229410"/>
            <ac:spMk id="3" creationId="{AE38F34A-7FFF-8747-BBC6-2FA1A138C04D}"/>
          </ac:spMkLst>
        </pc:spChg>
      </pc:sldChg>
      <pc:sldChg chg="addSp delSp modSp mod">
        <pc:chgData name="KA, Alioune" userId="fe37275f-539e-4a12-8419-9118552aec31" providerId="ADAL" clId="{B8D22F86-0B0F-0246-8A3B-1B94568E5AB2}" dt="2022-02-24T09:48:16.372" v="206" actId="20577"/>
        <pc:sldMkLst>
          <pc:docMk/>
          <pc:sldMk cId="276656327" sldId="2147229443"/>
        </pc:sldMkLst>
        <pc:spChg chg="mod">
          <ac:chgData name="KA, Alioune" userId="fe37275f-539e-4a12-8419-9118552aec31" providerId="ADAL" clId="{B8D22F86-0B0F-0246-8A3B-1B94568E5AB2}" dt="2022-02-24T09:44:22.542" v="142" actId="1076"/>
          <ac:spMkLst>
            <pc:docMk/>
            <pc:sldMk cId="276656327" sldId="2147229443"/>
            <ac:spMk id="7" creationId="{97B9017D-0426-439E-BF1D-839B41492947}"/>
          </ac:spMkLst>
        </pc:spChg>
        <pc:spChg chg="add del mod">
          <ac:chgData name="KA, Alioune" userId="fe37275f-539e-4a12-8419-9118552aec31" providerId="ADAL" clId="{B8D22F86-0B0F-0246-8A3B-1B94568E5AB2}" dt="2022-02-24T09:48:16.372" v="206" actId="20577"/>
          <ac:spMkLst>
            <pc:docMk/>
            <pc:sldMk cId="276656327" sldId="2147229443"/>
            <ac:spMk id="8" creationId="{3C0BE979-B0BF-477E-8C4A-17FB5793C8F7}"/>
          </ac:spMkLst>
        </pc:spChg>
        <pc:spChg chg="add mod">
          <ac:chgData name="KA, Alioune" userId="fe37275f-539e-4a12-8419-9118552aec31" providerId="ADAL" clId="{B8D22F86-0B0F-0246-8A3B-1B94568E5AB2}" dt="2022-02-24T09:47:11.522" v="185" actId="1076"/>
          <ac:spMkLst>
            <pc:docMk/>
            <pc:sldMk cId="276656327" sldId="2147229443"/>
            <ac:spMk id="11" creationId="{0DD5092F-AA96-9345-9B21-03339BCCE837}"/>
          </ac:spMkLst>
        </pc:spChg>
        <pc:spChg chg="del mod">
          <ac:chgData name="KA, Alioune" userId="fe37275f-539e-4a12-8419-9118552aec31" providerId="ADAL" clId="{B8D22F86-0B0F-0246-8A3B-1B94568E5AB2}" dt="2022-02-24T09:46:44.839" v="182" actId="478"/>
          <ac:spMkLst>
            <pc:docMk/>
            <pc:sldMk cId="276656327" sldId="2147229443"/>
            <ac:spMk id="12" creationId="{EE90AF38-82E4-3F4E-919C-E5DCF92637D6}"/>
          </ac:spMkLst>
        </pc:spChg>
      </pc:sldChg>
      <pc:sldChg chg="delSp del mod">
        <pc:chgData name="KA, Alioune" userId="fe37275f-539e-4a12-8419-9118552aec31" providerId="ADAL" clId="{B8D22F86-0B0F-0246-8A3B-1B94568E5AB2}" dt="2022-02-24T09:51:01.855" v="235" actId="2696"/>
        <pc:sldMkLst>
          <pc:docMk/>
          <pc:sldMk cId="1120233803" sldId="2147229444"/>
        </pc:sldMkLst>
        <pc:spChg chg="del">
          <ac:chgData name="KA, Alioune" userId="fe37275f-539e-4a12-8419-9118552aec31" providerId="ADAL" clId="{B8D22F86-0B0F-0246-8A3B-1B94568E5AB2}" dt="2022-02-24T09:51:00.090" v="234" actId="21"/>
          <ac:spMkLst>
            <pc:docMk/>
            <pc:sldMk cId="1120233803" sldId="2147229444"/>
            <ac:spMk id="12" creationId="{EE90AF38-82E4-3F4E-919C-E5DCF92637D6}"/>
          </ac:spMkLst>
        </pc:spChg>
      </pc:sldChg>
      <pc:sldChg chg="modNotesTx">
        <pc:chgData name="KA, Alioune" userId="fe37275f-539e-4a12-8419-9118552aec31" providerId="ADAL" clId="{B8D22F86-0B0F-0246-8A3B-1B94568E5AB2}" dt="2022-02-28T07:39:08.919" v="2343" actId="20577"/>
        <pc:sldMkLst>
          <pc:docMk/>
          <pc:sldMk cId="3527458742" sldId="2147229446"/>
        </pc:sldMkLst>
      </pc:sldChg>
      <pc:sldChg chg="addSp delSp modSp mod modNotesTx">
        <pc:chgData name="KA, Alioune" userId="fe37275f-539e-4a12-8419-9118552aec31" providerId="ADAL" clId="{B8D22F86-0B0F-0246-8A3B-1B94568E5AB2}" dt="2022-02-28T07:46:51.283" v="2447" actId="1038"/>
        <pc:sldMkLst>
          <pc:docMk/>
          <pc:sldMk cId="2746447157" sldId="2147229447"/>
        </pc:sldMkLst>
        <pc:spChg chg="mod">
          <ac:chgData name="KA, Alioune" userId="fe37275f-539e-4a12-8419-9118552aec31" providerId="ADAL" clId="{B8D22F86-0B0F-0246-8A3B-1B94568E5AB2}" dt="2022-02-28T07:46:47.078" v="2440" actId="1037"/>
          <ac:spMkLst>
            <pc:docMk/>
            <pc:sldMk cId="2746447157" sldId="2147229447"/>
            <ac:spMk id="92" creationId="{809A263A-AF4E-D044-A730-45F841BF1852}"/>
          </ac:spMkLst>
        </pc:spChg>
        <pc:spChg chg="mod">
          <ac:chgData name="KA, Alioune" userId="fe37275f-539e-4a12-8419-9118552aec31" providerId="ADAL" clId="{B8D22F86-0B0F-0246-8A3B-1B94568E5AB2}" dt="2022-02-28T07:46:51.283" v="2447" actId="1038"/>
          <ac:spMkLst>
            <pc:docMk/>
            <pc:sldMk cId="2746447157" sldId="2147229447"/>
            <ac:spMk id="93" creationId="{D2795E7F-4ED8-A34A-BDAD-B6426E4C2FE1}"/>
          </ac:spMkLst>
        </pc:spChg>
        <pc:picChg chg="add mod">
          <ac:chgData name="KA, Alioune" userId="fe37275f-539e-4a12-8419-9118552aec31" providerId="ADAL" clId="{B8D22F86-0B0F-0246-8A3B-1B94568E5AB2}" dt="2022-02-28T07:42:54.823" v="2360" actId="14100"/>
          <ac:picMkLst>
            <pc:docMk/>
            <pc:sldMk cId="2746447157" sldId="2147229447"/>
            <ac:picMk id="3" creationId="{C4DA4192-3E52-044D-8E96-2D197AEEAF7E}"/>
          </ac:picMkLst>
        </pc:picChg>
        <pc:picChg chg="add mod">
          <ac:chgData name="KA, Alioune" userId="fe37275f-539e-4a12-8419-9118552aec31" providerId="ADAL" clId="{B8D22F86-0B0F-0246-8A3B-1B94568E5AB2}" dt="2022-02-28T07:43:27.065" v="2388" actId="1037"/>
          <ac:picMkLst>
            <pc:docMk/>
            <pc:sldMk cId="2746447157" sldId="2147229447"/>
            <ac:picMk id="5" creationId="{5D0C1CAA-A1A9-E747-B1A8-D5BCE0642054}"/>
          </ac:picMkLst>
        </pc:picChg>
        <pc:picChg chg="add mod">
          <ac:chgData name="KA, Alioune" userId="fe37275f-539e-4a12-8419-9118552aec31" providerId="ADAL" clId="{B8D22F86-0B0F-0246-8A3B-1B94568E5AB2}" dt="2022-02-28T07:43:30.102" v="2394" actId="1038"/>
          <ac:picMkLst>
            <pc:docMk/>
            <pc:sldMk cId="2746447157" sldId="2147229447"/>
            <ac:picMk id="8" creationId="{A80E19E5-5410-F143-82D2-B44469C92381}"/>
          </ac:picMkLst>
        </pc:picChg>
        <pc:picChg chg="del">
          <ac:chgData name="KA, Alioune" userId="fe37275f-539e-4a12-8419-9118552aec31" providerId="ADAL" clId="{B8D22F86-0B0F-0246-8A3B-1B94568E5AB2}" dt="2022-02-28T07:42:30.675" v="2353" actId="478"/>
          <ac:picMkLst>
            <pc:docMk/>
            <pc:sldMk cId="2746447157" sldId="2147229447"/>
            <ac:picMk id="91" creationId="{457858D4-1E14-9E4B-8EE2-513FB24ABE63}"/>
          </ac:picMkLst>
        </pc:picChg>
        <pc:picChg chg="del">
          <ac:chgData name="KA, Alioune" userId="fe37275f-539e-4a12-8419-9118552aec31" providerId="ADAL" clId="{B8D22F86-0B0F-0246-8A3B-1B94568E5AB2}" dt="2022-02-28T07:42:33.079" v="2354" actId="478"/>
          <ac:picMkLst>
            <pc:docMk/>
            <pc:sldMk cId="2746447157" sldId="2147229447"/>
            <ac:picMk id="71684" creationId="{930E534A-ABA1-1F42-AF81-C4D6B1B41B70}"/>
          </ac:picMkLst>
        </pc:picChg>
      </pc:sldChg>
      <pc:sldChg chg="addSp delSp modSp mod ord modNotesTx">
        <pc:chgData name="KA, Alioune" userId="fe37275f-539e-4a12-8419-9118552aec31" providerId="ADAL" clId="{B8D22F86-0B0F-0246-8A3B-1B94568E5AB2}" dt="2022-02-28T11:33:36.154" v="2914" actId="1035"/>
        <pc:sldMkLst>
          <pc:docMk/>
          <pc:sldMk cId="4130323097" sldId="2147229448"/>
        </pc:sldMkLst>
        <pc:spChg chg="mod">
          <ac:chgData name="KA, Alioune" userId="fe37275f-539e-4a12-8419-9118552aec31" providerId="ADAL" clId="{B8D22F86-0B0F-0246-8A3B-1B94568E5AB2}" dt="2022-02-24T10:18:28.500" v="1962" actId="20577"/>
          <ac:spMkLst>
            <pc:docMk/>
            <pc:sldMk cId="4130323097" sldId="2147229448"/>
            <ac:spMk id="2" creationId="{23D7B51F-DDF8-054C-B7AC-E1F75A75C5A9}"/>
          </ac:spMkLst>
        </pc:spChg>
        <pc:spChg chg="add mod">
          <ac:chgData name="KA, Alioune" userId="fe37275f-539e-4a12-8419-9118552aec31" providerId="ADAL" clId="{B8D22F86-0B0F-0246-8A3B-1B94568E5AB2}" dt="2022-02-24T10:20:09.091" v="2003" actId="20577"/>
          <ac:spMkLst>
            <pc:docMk/>
            <pc:sldMk cId="4130323097" sldId="2147229448"/>
            <ac:spMk id="3" creationId="{112DA407-4F68-3044-97DA-BA3F9EFA9D10}"/>
          </ac:spMkLst>
        </pc:spChg>
        <pc:spChg chg="add del mod">
          <ac:chgData name="KA, Alioune" userId="fe37275f-539e-4a12-8419-9118552aec31" providerId="ADAL" clId="{B8D22F86-0B0F-0246-8A3B-1B94568E5AB2}" dt="2022-02-28T11:33:12.236" v="2873"/>
          <ac:spMkLst>
            <pc:docMk/>
            <pc:sldMk cId="4130323097" sldId="2147229448"/>
            <ac:spMk id="3" creationId="{FFF11C65-54C5-7941-AD4B-7001CA5BD25C}"/>
          </ac:spMkLst>
        </pc:spChg>
        <pc:spChg chg="mod">
          <ac:chgData name="KA, Alioune" userId="fe37275f-539e-4a12-8419-9118552aec31" providerId="ADAL" clId="{B8D22F86-0B0F-0246-8A3B-1B94568E5AB2}" dt="2022-02-28T11:33:36.154" v="2914" actId="1035"/>
          <ac:spMkLst>
            <pc:docMk/>
            <pc:sldMk cId="4130323097" sldId="2147229448"/>
            <ac:spMk id="4" creationId="{17D5DDD1-9DBC-4E31-8EE5-F3438F76F105}"/>
          </ac:spMkLst>
        </pc:spChg>
        <pc:spChg chg="mod">
          <ac:chgData name="KA, Alioune" userId="fe37275f-539e-4a12-8419-9118552aec31" providerId="ADAL" clId="{B8D22F86-0B0F-0246-8A3B-1B94568E5AB2}" dt="2022-02-28T11:33:03.323" v="2870" actId="404"/>
          <ac:spMkLst>
            <pc:docMk/>
            <pc:sldMk cId="4130323097" sldId="2147229448"/>
            <ac:spMk id="42" creationId="{9FE6976F-4A85-451D-8354-3860FE03FCF7}"/>
          </ac:spMkLst>
        </pc:spChg>
        <pc:spChg chg="mod">
          <ac:chgData name="KA, Alioune" userId="fe37275f-539e-4a12-8419-9118552aec31" providerId="ADAL" clId="{B8D22F86-0B0F-0246-8A3B-1B94568E5AB2}" dt="2022-02-28T11:33:16.835" v="2883" actId="1035"/>
          <ac:spMkLst>
            <pc:docMk/>
            <pc:sldMk cId="4130323097" sldId="2147229448"/>
            <ac:spMk id="80" creationId="{BABDD72D-A7F4-8C42-AC59-CA1B0AE4D7E2}"/>
          </ac:spMkLst>
        </pc:spChg>
        <pc:spChg chg="mod">
          <ac:chgData name="KA, Alioune" userId="fe37275f-539e-4a12-8419-9118552aec31" providerId="ADAL" clId="{B8D22F86-0B0F-0246-8A3B-1B94568E5AB2}" dt="2022-02-28T11:33:16.835" v="2883" actId="1035"/>
          <ac:spMkLst>
            <pc:docMk/>
            <pc:sldMk cId="4130323097" sldId="2147229448"/>
            <ac:spMk id="81" creationId="{F1B1CC8E-D943-F143-94C0-8C7831236F65}"/>
          </ac:spMkLst>
        </pc:spChg>
        <pc:spChg chg="mod">
          <ac:chgData name="KA, Alioune" userId="fe37275f-539e-4a12-8419-9118552aec31" providerId="ADAL" clId="{B8D22F86-0B0F-0246-8A3B-1B94568E5AB2}" dt="2022-02-28T11:33:16.835" v="2883" actId="1035"/>
          <ac:spMkLst>
            <pc:docMk/>
            <pc:sldMk cId="4130323097" sldId="2147229448"/>
            <ac:spMk id="87" creationId="{A55EB7C0-7065-534E-A08A-0DAD449CAF66}"/>
          </ac:spMkLst>
        </pc:spChg>
        <pc:spChg chg="mod">
          <ac:chgData name="KA, Alioune" userId="fe37275f-539e-4a12-8419-9118552aec31" providerId="ADAL" clId="{B8D22F86-0B0F-0246-8A3B-1B94568E5AB2}" dt="2022-02-28T11:33:16.835" v="2883" actId="1035"/>
          <ac:spMkLst>
            <pc:docMk/>
            <pc:sldMk cId="4130323097" sldId="2147229448"/>
            <ac:spMk id="88" creationId="{40980480-8FAA-E04C-B45C-AD19FAEF5F3F}"/>
          </ac:spMkLst>
        </pc:spChg>
        <pc:spChg chg="mod">
          <ac:chgData name="KA, Alioune" userId="fe37275f-539e-4a12-8419-9118552aec31" providerId="ADAL" clId="{B8D22F86-0B0F-0246-8A3B-1B94568E5AB2}" dt="2022-02-28T11:33:16.835" v="2883" actId="1035"/>
          <ac:spMkLst>
            <pc:docMk/>
            <pc:sldMk cId="4130323097" sldId="2147229448"/>
            <ac:spMk id="89" creationId="{42805411-67FC-1748-8DCB-F0C6A6E11B3E}"/>
          </ac:spMkLst>
        </pc:spChg>
        <pc:grpChg chg="mod">
          <ac:chgData name="KA, Alioune" userId="fe37275f-539e-4a12-8419-9118552aec31" providerId="ADAL" clId="{B8D22F86-0B0F-0246-8A3B-1B94568E5AB2}" dt="2022-02-28T11:33:16.835" v="2883" actId="1035"/>
          <ac:grpSpMkLst>
            <pc:docMk/>
            <pc:sldMk cId="4130323097" sldId="2147229448"/>
            <ac:grpSpMk id="91" creationId="{0734DE03-D96E-7642-9C6E-23D317074289}"/>
          </ac:grpSpMkLst>
        </pc:grpChg>
        <pc:picChg chg="mod">
          <ac:chgData name="KA, Alioune" userId="fe37275f-539e-4a12-8419-9118552aec31" providerId="ADAL" clId="{B8D22F86-0B0F-0246-8A3B-1B94568E5AB2}" dt="2022-02-28T11:33:16.835" v="2883" actId="1035"/>
          <ac:picMkLst>
            <pc:docMk/>
            <pc:sldMk cId="4130323097" sldId="2147229448"/>
            <ac:picMk id="5" creationId="{25171034-7A7E-40B9-B11E-BE529AA801C8}"/>
          </ac:picMkLst>
        </pc:picChg>
      </pc:sldChg>
      <pc:sldChg chg="modSp mod ord modNotesTx">
        <pc:chgData name="KA, Alioune" userId="fe37275f-539e-4a12-8419-9118552aec31" providerId="ADAL" clId="{B8D22F86-0B0F-0246-8A3B-1B94568E5AB2}" dt="2022-02-24T10:24:14.551" v="2234" actId="20578"/>
        <pc:sldMkLst>
          <pc:docMk/>
          <pc:sldMk cId="3045153165" sldId="2147229450"/>
        </pc:sldMkLst>
        <pc:spChg chg="mod">
          <ac:chgData name="KA, Alioune" userId="fe37275f-539e-4a12-8419-9118552aec31" providerId="ADAL" clId="{B8D22F86-0B0F-0246-8A3B-1B94568E5AB2}" dt="2022-02-24T10:13:57.098" v="1562" actId="552"/>
          <ac:spMkLst>
            <pc:docMk/>
            <pc:sldMk cId="3045153165" sldId="2147229450"/>
            <ac:spMk id="11" creationId="{388B92BA-0FD7-6647-A715-81C01453FF05}"/>
          </ac:spMkLst>
        </pc:spChg>
        <pc:spChg chg="mod">
          <ac:chgData name="KA, Alioune" userId="fe37275f-539e-4a12-8419-9118552aec31" providerId="ADAL" clId="{B8D22F86-0B0F-0246-8A3B-1B94568E5AB2}" dt="2022-02-24T10:12:40.351" v="1522" actId="1037"/>
          <ac:spMkLst>
            <pc:docMk/>
            <pc:sldMk cId="3045153165" sldId="2147229450"/>
            <ac:spMk id="32" creationId="{A462E4BC-A604-CB40-AFB4-FB597FC34369}"/>
          </ac:spMkLst>
        </pc:spChg>
        <pc:spChg chg="mod">
          <ac:chgData name="KA, Alioune" userId="fe37275f-539e-4a12-8419-9118552aec31" providerId="ADAL" clId="{B8D22F86-0B0F-0246-8A3B-1B94568E5AB2}" dt="2022-02-24T10:12:40.351" v="1522" actId="1037"/>
          <ac:spMkLst>
            <pc:docMk/>
            <pc:sldMk cId="3045153165" sldId="2147229450"/>
            <ac:spMk id="34" creationId="{7D2125AC-D0E9-DB41-82B2-D8BDC7CDDA95}"/>
          </ac:spMkLst>
        </pc:spChg>
        <pc:spChg chg="mod">
          <ac:chgData name="KA, Alioune" userId="fe37275f-539e-4a12-8419-9118552aec31" providerId="ADAL" clId="{B8D22F86-0B0F-0246-8A3B-1B94568E5AB2}" dt="2022-02-24T10:12:40.351" v="1522" actId="1037"/>
          <ac:spMkLst>
            <pc:docMk/>
            <pc:sldMk cId="3045153165" sldId="2147229450"/>
            <ac:spMk id="36" creationId="{56D80E24-37B5-F640-9BEB-7C46B7CF2F66}"/>
          </ac:spMkLst>
        </pc:spChg>
        <pc:spChg chg="mod">
          <ac:chgData name="KA, Alioune" userId="fe37275f-539e-4a12-8419-9118552aec31" providerId="ADAL" clId="{B8D22F86-0B0F-0246-8A3B-1B94568E5AB2}" dt="2022-02-24T10:12:40.351" v="1522" actId="1037"/>
          <ac:spMkLst>
            <pc:docMk/>
            <pc:sldMk cId="3045153165" sldId="2147229450"/>
            <ac:spMk id="38" creationId="{A4A150CE-AB94-4C44-80A6-D010D1113784}"/>
          </ac:spMkLst>
        </pc:spChg>
        <pc:spChg chg="mod">
          <ac:chgData name="KA, Alioune" userId="fe37275f-539e-4a12-8419-9118552aec31" providerId="ADAL" clId="{B8D22F86-0B0F-0246-8A3B-1B94568E5AB2}" dt="2022-02-24T10:12:40.351" v="1522" actId="1037"/>
          <ac:spMkLst>
            <pc:docMk/>
            <pc:sldMk cId="3045153165" sldId="2147229450"/>
            <ac:spMk id="40" creationId="{F97EF8CB-1430-DA42-B270-6B2A5B72F0CB}"/>
          </ac:spMkLst>
        </pc:spChg>
        <pc:spChg chg="mod">
          <ac:chgData name="KA, Alioune" userId="fe37275f-539e-4a12-8419-9118552aec31" providerId="ADAL" clId="{B8D22F86-0B0F-0246-8A3B-1B94568E5AB2}" dt="2022-02-24T10:12:40.351" v="1522" actId="1037"/>
          <ac:spMkLst>
            <pc:docMk/>
            <pc:sldMk cId="3045153165" sldId="2147229450"/>
            <ac:spMk id="42" creationId="{AAAFEA2B-9C20-594F-B39D-9679A3507782}"/>
          </ac:spMkLst>
        </pc:spChg>
        <pc:spChg chg="mod">
          <ac:chgData name="KA, Alioune" userId="fe37275f-539e-4a12-8419-9118552aec31" providerId="ADAL" clId="{B8D22F86-0B0F-0246-8A3B-1B94568E5AB2}" dt="2022-02-24T10:13:57.098" v="1562" actId="552"/>
          <ac:spMkLst>
            <pc:docMk/>
            <pc:sldMk cId="3045153165" sldId="2147229450"/>
            <ac:spMk id="52" creationId="{63A29FAE-B363-174A-B3BE-7EEF91B3230A}"/>
          </ac:spMkLst>
        </pc:spChg>
        <pc:grpChg chg="mod">
          <ac:chgData name="KA, Alioune" userId="fe37275f-539e-4a12-8419-9118552aec31" providerId="ADAL" clId="{B8D22F86-0B0F-0246-8A3B-1B94568E5AB2}" dt="2022-02-24T10:12:40.351" v="1522" actId="1037"/>
          <ac:grpSpMkLst>
            <pc:docMk/>
            <pc:sldMk cId="3045153165" sldId="2147229450"/>
            <ac:grpSpMk id="3" creationId="{4B6FAEF4-4349-AD49-821D-3196566896BE}"/>
          </ac:grpSpMkLst>
        </pc:grpChg>
        <pc:grpChg chg="mod">
          <ac:chgData name="KA, Alioune" userId="fe37275f-539e-4a12-8419-9118552aec31" providerId="ADAL" clId="{B8D22F86-0B0F-0246-8A3B-1B94568E5AB2}" dt="2022-02-24T10:12:40.351" v="1522" actId="1037"/>
          <ac:grpSpMkLst>
            <pc:docMk/>
            <pc:sldMk cId="3045153165" sldId="2147229450"/>
            <ac:grpSpMk id="4" creationId="{7A95594B-05E2-8D4B-B212-FEA21BE081BB}"/>
          </ac:grpSpMkLst>
        </pc:grpChg>
        <pc:grpChg chg="mod">
          <ac:chgData name="KA, Alioune" userId="fe37275f-539e-4a12-8419-9118552aec31" providerId="ADAL" clId="{B8D22F86-0B0F-0246-8A3B-1B94568E5AB2}" dt="2022-02-24T10:12:40.351" v="1522" actId="1037"/>
          <ac:grpSpMkLst>
            <pc:docMk/>
            <pc:sldMk cId="3045153165" sldId="2147229450"/>
            <ac:grpSpMk id="10" creationId="{DDE1487A-85D9-324D-8C03-8F3EA8F0F330}"/>
          </ac:grpSpMkLst>
        </pc:grpChg>
        <pc:grpChg chg="mod">
          <ac:chgData name="KA, Alioune" userId="fe37275f-539e-4a12-8419-9118552aec31" providerId="ADAL" clId="{B8D22F86-0B0F-0246-8A3B-1B94568E5AB2}" dt="2022-02-24T10:12:47.528" v="1531" actId="1037"/>
          <ac:grpSpMkLst>
            <pc:docMk/>
            <pc:sldMk cId="3045153165" sldId="2147229450"/>
            <ac:grpSpMk id="23" creationId="{BCFEA149-132F-CB4F-838C-80540002159C}"/>
          </ac:grpSpMkLst>
        </pc:grpChg>
        <pc:grpChg chg="mod">
          <ac:chgData name="KA, Alioune" userId="fe37275f-539e-4a12-8419-9118552aec31" providerId="ADAL" clId="{B8D22F86-0B0F-0246-8A3B-1B94568E5AB2}" dt="2022-02-24T10:13:57.098" v="1562" actId="552"/>
          <ac:grpSpMkLst>
            <pc:docMk/>
            <pc:sldMk cId="3045153165" sldId="2147229450"/>
            <ac:grpSpMk id="44" creationId="{305C7769-87B8-314C-9C16-83A4E4E42A4A}"/>
          </ac:grpSpMkLst>
        </pc:grpChg>
        <pc:grpChg chg="mod">
          <ac:chgData name="KA, Alioune" userId="fe37275f-539e-4a12-8419-9118552aec31" providerId="ADAL" clId="{B8D22F86-0B0F-0246-8A3B-1B94568E5AB2}" dt="2022-02-24T10:13:57.098" v="1562" actId="552"/>
          <ac:grpSpMkLst>
            <pc:docMk/>
            <pc:sldMk cId="3045153165" sldId="2147229450"/>
            <ac:grpSpMk id="48" creationId="{F9359B72-CC60-6547-8E4F-16C34B3F93AE}"/>
          </ac:grpSpMkLst>
        </pc:grpChg>
        <pc:picChg chg="mod">
          <ac:chgData name="KA, Alioune" userId="fe37275f-539e-4a12-8419-9118552aec31" providerId="ADAL" clId="{B8D22F86-0B0F-0246-8A3B-1B94568E5AB2}" dt="2022-02-24T10:12:40.351" v="1522" actId="1037"/>
          <ac:picMkLst>
            <pc:docMk/>
            <pc:sldMk cId="3045153165" sldId="2147229450"/>
            <ac:picMk id="5" creationId="{F3D38A62-C291-B24B-AE12-A772E76971AF}"/>
          </ac:picMkLst>
        </pc:picChg>
        <pc:picChg chg="mod">
          <ac:chgData name="KA, Alioune" userId="fe37275f-539e-4a12-8419-9118552aec31" providerId="ADAL" clId="{B8D22F86-0B0F-0246-8A3B-1B94568E5AB2}" dt="2022-02-24T10:12:40.351" v="1522" actId="1037"/>
          <ac:picMkLst>
            <pc:docMk/>
            <pc:sldMk cId="3045153165" sldId="2147229450"/>
            <ac:picMk id="6" creationId="{161CA82A-5543-A442-BA91-4A27CB858654}"/>
          </ac:picMkLst>
        </pc:picChg>
        <pc:picChg chg="mod">
          <ac:chgData name="KA, Alioune" userId="fe37275f-539e-4a12-8419-9118552aec31" providerId="ADAL" clId="{B8D22F86-0B0F-0246-8A3B-1B94568E5AB2}" dt="2022-02-24T10:12:40.351" v="1522" actId="1037"/>
          <ac:picMkLst>
            <pc:docMk/>
            <pc:sldMk cId="3045153165" sldId="2147229450"/>
            <ac:picMk id="7" creationId="{83D27D95-9F12-5B44-81C7-5C450D756155}"/>
          </ac:picMkLst>
        </pc:picChg>
        <pc:picChg chg="mod">
          <ac:chgData name="KA, Alioune" userId="fe37275f-539e-4a12-8419-9118552aec31" providerId="ADAL" clId="{B8D22F86-0B0F-0246-8A3B-1B94568E5AB2}" dt="2022-02-24T10:12:40.351" v="1522" actId="1037"/>
          <ac:picMkLst>
            <pc:docMk/>
            <pc:sldMk cId="3045153165" sldId="2147229450"/>
            <ac:picMk id="74754" creationId="{68FC3605-4656-AF48-AAB7-77AD255E8096}"/>
          </ac:picMkLst>
        </pc:picChg>
      </pc:sldChg>
      <pc:sldChg chg="del">
        <pc:chgData name="KA, Alioune" userId="fe37275f-539e-4a12-8419-9118552aec31" providerId="ADAL" clId="{B8D22F86-0B0F-0246-8A3B-1B94568E5AB2}" dt="2022-02-24T10:22:28.224" v="2212" actId="2696"/>
        <pc:sldMkLst>
          <pc:docMk/>
          <pc:sldMk cId="1706642992" sldId="2147229454"/>
        </pc:sldMkLst>
      </pc:sldChg>
      <pc:sldChg chg="modSp add mod">
        <pc:chgData name="KA, Alioune" userId="fe37275f-539e-4a12-8419-9118552aec31" providerId="ADAL" clId="{B8D22F86-0B0F-0246-8A3B-1B94568E5AB2}" dt="2022-02-24T10:31:20.720" v="2338" actId="1035"/>
        <pc:sldMkLst>
          <pc:docMk/>
          <pc:sldMk cId="2106162999" sldId="2147229455"/>
        </pc:sldMkLst>
        <pc:spChg chg="mod">
          <ac:chgData name="KA, Alioune" userId="fe37275f-539e-4a12-8419-9118552aec31" providerId="ADAL" clId="{B8D22F86-0B0F-0246-8A3B-1B94568E5AB2}" dt="2022-02-24T10:26:55.182" v="2295" actId="20577"/>
          <ac:spMkLst>
            <pc:docMk/>
            <pc:sldMk cId="2106162999" sldId="2147229455"/>
            <ac:spMk id="8" creationId="{3C0BE979-B0BF-477E-8C4A-17FB5793C8F7}"/>
          </ac:spMkLst>
        </pc:spChg>
        <pc:spChg chg="mod">
          <ac:chgData name="KA, Alioune" userId="fe37275f-539e-4a12-8419-9118552aec31" providerId="ADAL" clId="{B8D22F86-0B0F-0246-8A3B-1B94568E5AB2}" dt="2022-02-24T10:31:20.720" v="2338" actId="1035"/>
          <ac:spMkLst>
            <pc:docMk/>
            <pc:sldMk cId="2106162999" sldId="2147229455"/>
            <ac:spMk id="11" creationId="{0DD5092F-AA96-9345-9B21-03339BCCE837}"/>
          </ac:spMkLst>
        </pc:spChg>
      </pc:sldChg>
      <pc:sldChg chg="add">
        <pc:chgData name="KA, Alioune" userId="fe37275f-539e-4a12-8419-9118552aec31" providerId="ADAL" clId="{B8D22F86-0B0F-0246-8A3B-1B94568E5AB2}" dt="2022-02-24T10:22:30.926" v="2213"/>
        <pc:sldMkLst>
          <pc:docMk/>
          <pc:sldMk cId="2422706775" sldId="2147229456"/>
        </pc:sldMkLst>
      </pc:sldChg>
      <pc:sldChg chg="delSp modSp add mod modNotesTx">
        <pc:chgData name="KA, Alioune" userId="fe37275f-539e-4a12-8419-9118552aec31" providerId="ADAL" clId="{B8D22F86-0B0F-0246-8A3B-1B94568E5AB2}" dt="2022-02-28T08:27:14.166" v="2693" actId="113"/>
        <pc:sldMkLst>
          <pc:docMk/>
          <pc:sldMk cId="349757633" sldId="2147229457"/>
        </pc:sldMkLst>
        <pc:spChg chg="del">
          <ac:chgData name="KA, Alioune" userId="fe37275f-539e-4a12-8419-9118552aec31" providerId="ADAL" clId="{B8D22F86-0B0F-0246-8A3B-1B94568E5AB2}" dt="2022-02-24T10:22:47.748" v="2215" actId="478"/>
          <ac:spMkLst>
            <pc:docMk/>
            <pc:sldMk cId="349757633" sldId="2147229457"/>
            <ac:spMk id="2" creationId="{23D7B51F-DDF8-054C-B7AC-E1F75A75C5A9}"/>
          </ac:spMkLst>
        </pc:spChg>
        <pc:spChg chg="del">
          <ac:chgData name="KA, Alioune" userId="fe37275f-539e-4a12-8419-9118552aec31" providerId="ADAL" clId="{B8D22F86-0B0F-0246-8A3B-1B94568E5AB2}" dt="2022-02-24T10:23:52.602" v="2232" actId="478"/>
          <ac:spMkLst>
            <pc:docMk/>
            <pc:sldMk cId="349757633" sldId="2147229457"/>
            <ac:spMk id="3" creationId="{112DA407-4F68-3044-97DA-BA3F9EFA9D10}"/>
          </ac:spMkLst>
        </pc:spChg>
        <pc:spChg chg="mod">
          <ac:chgData name="KA, Alioune" userId="fe37275f-539e-4a12-8419-9118552aec31" providerId="ADAL" clId="{B8D22F86-0B0F-0246-8A3B-1B94568E5AB2}" dt="2022-02-28T08:25:21.725" v="2688" actId="113"/>
          <ac:spMkLst>
            <pc:docMk/>
            <pc:sldMk cId="349757633" sldId="2147229457"/>
            <ac:spMk id="14" creationId="{89169243-B801-486C-B35B-7112F2009210}"/>
          </ac:spMkLst>
        </pc:spChg>
        <pc:spChg chg="mod">
          <ac:chgData name="KA, Alioune" userId="fe37275f-539e-4a12-8419-9118552aec31" providerId="ADAL" clId="{B8D22F86-0B0F-0246-8A3B-1B94568E5AB2}" dt="2022-02-28T08:25:44.713" v="2690" actId="113"/>
          <ac:spMkLst>
            <pc:docMk/>
            <pc:sldMk cId="349757633" sldId="2147229457"/>
            <ac:spMk id="17" creationId="{7634CE8C-E132-4718-B6B4-9D4C598FB9EC}"/>
          </ac:spMkLst>
        </pc:spChg>
        <pc:spChg chg="mod">
          <ac:chgData name="KA, Alioune" userId="fe37275f-539e-4a12-8419-9118552aec31" providerId="ADAL" clId="{B8D22F86-0B0F-0246-8A3B-1B94568E5AB2}" dt="2022-02-28T08:26:36.771" v="2691" actId="113"/>
          <ac:spMkLst>
            <pc:docMk/>
            <pc:sldMk cId="349757633" sldId="2147229457"/>
            <ac:spMk id="18" creationId="{2977EDE8-4E2C-4EF8-BF60-11F9BAA8FF21}"/>
          </ac:spMkLst>
        </pc:spChg>
        <pc:spChg chg="mod">
          <ac:chgData name="KA, Alioune" userId="fe37275f-539e-4a12-8419-9118552aec31" providerId="ADAL" clId="{B8D22F86-0B0F-0246-8A3B-1B94568E5AB2}" dt="2022-02-28T08:26:59.461" v="2692" actId="113"/>
          <ac:spMkLst>
            <pc:docMk/>
            <pc:sldMk cId="349757633" sldId="2147229457"/>
            <ac:spMk id="19" creationId="{26830912-48E7-410D-B735-D773986757A9}"/>
          </ac:spMkLst>
        </pc:spChg>
        <pc:spChg chg="mod">
          <ac:chgData name="KA, Alioune" userId="fe37275f-539e-4a12-8419-9118552aec31" providerId="ADAL" clId="{B8D22F86-0B0F-0246-8A3B-1B94568E5AB2}" dt="2022-02-28T08:27:14.166" v="2693" actId="113"/>
          <ac:spMkLst>
            <pc:docMk/>
            <pc:sldMk cId="349757633" sldId="2147229457"/>
            <ac:spMk id="20" creationId="{847AB6F8-8CC8-446D-8E17-C29A67716588}"/>
          </ac:spMkLst>
        </pc:spChg>
        <pc:spChg chg="del">
          <ac:chgData name="KA, Alioune" userId="fe37275f-539e-4a12-8419-9118552aec31" providerId="ADAL" clId="{B8D22F86-0B0F-0246-8A3B-1B94568E5AB2}" dt="2022-02-24T10:22:47.748" v="2215" actId="478"/>
          <ac:spMkLst>
            <pc:docMk/>
            <pc:sldMk cId="349757633" sldId="2147229457"/>
            <ac:spMk id="80" creationId="{BABDD72D-A7F4-8C42-AC59-CA1B0AE4D7E2}"/>
          </ac:spMkLst>
        </pc:spChg>
        <pc:spChg chg="del">
          <ac:chgData name="KA, Alioune" userId="fe37275f-539e-4a12-8419-9118552aec31" providerId="ADAL" clId="{B8D22F86-0B0F-0246-8A3B-1B94568E5AB2}" dt="2022-02-24T10:22:47.748" v="2215" actId="478"/>
          <ac:spMkLst>
            <pc:docMk/>
            <pc:sldMk cId="349757633" sldId="2147229457"/>
            <ac:spMk id="81" creationId="{F1B1CC8E-D943-F143-94C0-8C7831236F65}"/>
          </ac:spMkLst>
        </pc:spChg>
        <pc:spChg chg="del">
          <ac:chgData name="KA, Alioune" userId="fe37275f-539e-4a12-8419-9118552aec31" providerId="ADAL" clId="{B8D22F86-0B0F-0246-8A3B-1B94568E5AB2}" dt="2022-02-24T10:22:47.748" v="2215" actId="478"/>
          <ac:spMkLst>
            <pc:docMk/>
            <pc:sldMk cId="349757633" sldId="2147229457"/>
            <ac:spMk id="87" creationId="{A55EB7C0-7065-534E-A08A-0DAD449CAF66}"/>
          </ac:spMkLst>
        </pc:spChg>
        <pc:spChg chg="del">
          <ac:chgData name="KA, Alioune" userId="fe37275f-539e-4a12-8419-9118552aec31" providerId="ADAL" clId="{B8D22F86-0B0F-0246-8A3B-1B94568E5AB2}" dt="2022-02-24T10:22:47.748" v="2215" actId="478"/>
          <ac:spMkLst>
            <pc:docMk/>
            <pc:sldMk cId="349757633" sldId="2147229457"/>
            <ac:spMk id="88" creationId="{40980480-8FAA-E04C-B45C-AD19FAEF5F3F}"/>
          </ac:spMkLst>
        </pc:spChg>
        <pc:spChg chg="del">
          <ac:chgData name="KA, Alioune" userId="fe37275f-539e-4a12-8419-9118552aec31" providerId="ADAL" clId="{B8D22F86-0B0F-0246-8A3B-1B94568E5AB2}" dt="2022-02-24T10:22:47.748" v="2215" actId="478"/>
          <ac:spMkLst>
            <pc:docMk/>
            <pc:sldMk cId="349757633" sldId="2147229457"/>
            <ac:spMk id="89" creationId="{42805411-67FC-1748-8DCB-F0C6A6E11B3E}"/>
          </ac:spMkLst>
        </pc:spChg>
        <pc:spChg chg="mod">
          <ac:chgData name="KA, Alioune" userId="fe37275f-539e-4a12-8419-9118552aec31" providerId="ADAL" clId="{B8D22F86-0B0F-0246-8A3B-1B94568E5AB2}" dt="2022-02-24T10:22:57.988" v="2231" actId="20577"/>
          <ac:spMkLst>
            <pc:docMk/>
            <pc:sldMk cId="349757633" sldId="2147229457"/>
            <ac:spMk id="983" creationId="{00000000-0000-0000-0000-000000000000}"/>
          </ac:spMkLst>
        </pc:spChg>
        <pc:grpChg chg="del">
          <ac:chgData name="KA, Alioune" userId="fe37275f-539e-4a12-8419-9118552aec31" providerId="ADAL" clId="{B8D22F86-0B0F-0246-8A3B-1B94568E5AB2}" dt="2022-02-24T10:22:47.748" v="2215" actId="478"/>
          <ac:grpSpMkLst>
            <pc:docMk/>
            <pc:sldMk cId="349757633" sldId="2147229457"/>
            <ac:grpSpMk id="54" creationId="{2F03A70B-01BD-6144-A8FF-4DF2D2F619D3}"/>
          </ac:grpSpMkLst>
        </pc:grpChg>
        <pc:grpChg chg="del">
          <ac:chgData name="KA, Alioune" userId="fe37275f-539e-4a12-8419-9118552aec31" providerId="ADAL" clId="{B8D22F86-0B0F-0246-8A3B-1B94568E5AB2}" dt="2022-02-24T10:22:47.748" v="2215" actId="478"/>
          <ac:grpSpMkLst>
            <pc:docMk/>
            <pc:sldMk cId="349757633" sldId="2147229457"/>
            <ac:grpSpMk id="58" creationId="{031D2DE3-90CC-AA4A-8E3C-9AD678CE0A86}"/>
          </ac:grpSpMkLst>
        </pc:grpChg>
        <pc:grpChg chg="del">
          <ac:chgData name="KA, Alioune" userId="fe37275f-539e-4a12-8419-9118552aec31" providerId="ADAL" clId="{B8D22F86-0B0F-0246-8A3B-1B94568E5AB2}" dt="2022-02-24T10:22:47.748" v="2215" actId="478"/>
          <ac:grpSpMkLst>
            <pc:docMk/>
            <pc:sldMk cId="349757633" sldId="2147229457"/>
            <ac:grpSpMk id="91" creationId="{0734DE03-D96E-7642-9C6E-23D317074289}"/>
          </ac:grpSpMkLst>
        </pc:grpChg>
      </pc:sldChg>
      <pc:sldChg chg="modSp add mod ord">
        <pc:chgData name="KA, Alioune" userId="fe37275f-539e-4a12-8419-9118552aec31" providerId="ADAL" clId="{B8D22F86-0B0F-0246-8A3B-1B94568E5AB2}" dt="2022-02-24T10:27:51.229" v="2321" actId="20578"/>
        <pc:sldMkLst>
          <pc:docMk/>
          <pc:sldMk cId="136042639" sldId="2147229458"/>
        </pc:sldMkLst>
        <pc:spChg chg="mod">
          <ac:chgData name="KA, Alioune" userId="fe37275f-539e-4a12-8419-9118552aec31" providerId="ADAL" clId="{B8D22F86-0B0F-0246-8A3B-1B94568E5AB2}" dt="2022-02-24T10:24:47.891" v="2241" actId="20577"/>
          <ac:spMkLst>
            <pc:docMk/>
            <pc:sldMk cId="136042639" sldId="2147229458"/>
            <ac:spMk id="983" creationId="{00000000-0000-0000-0000-000000000000}"/>
          </ac:spMkLst>
        </pc:spChg>
      </pc:sldChg>
      <pc:sldChg chg="modSp add mod">
        <pc:chgData name="KA, Alioune" userId="fe37275f-539e-4a12-8419-9118552aec31" providerId="ADAL" clId="{B8D22F86-0B0F-0246-8A3B-1B94568E5AB2}" dt="2022-02-24T10:26:02.972" v="2253" actId="20577"/>
        <pc:sldMkLst>
          <pc:docMk/>
          <pc:sldMk cId="3164071390" sldId="2147229459"/>
        </pc:sldMkLst>
        <pc:spChg chg="mod">
          <ac:chgData name="KA, Alioune" userId="fe37275f-539e-4a12-8419-9118552aec31" providerId="ADAL" clId="{B8D22F86-0B0F-0246-8A3B-1B94568E5AB2}" dt="2022-02-24T10:26:02.972" v="2253" actId="20577"/>
          <ac:spMkLst>
            <pc:docMk/>
            <pc:sldMk cId="3164071390" sldId="2147229459"/>
            <ac:spMk id="983" creationId="{00000000-0000-0000-0000-000000000000}"/>
          </ac:spMkLst>
        </pc:spChg>
      </pc:sldChg>
      <pc:sldChg chg="modSp add mod">
        <pc:chgData name="KA, Alioune" userId="fe37275f-539e-4a12-8419-9118552aec31" providerId="ADAL" clId="{B8D22F86-0B0F-0246-8A3B-1B94568E5AB2}" dt="2022-02-28T08:35:22.813" v="2716" actId="20577"/>
        <pc:sldMkLst>
          <pc:docMk/>
          <pc:sldMk cId="4270189039" sldId="2147229460"/>
        </pc:sldMkLst>
        <pc:spChg chg="mod">
          <ac:chgData name="KA, Alioune" userId="fe37275f-539e-4a12-8419-9118552aec31" providerId="ADAL" clId="{B8D22F86-0B0F-0246-8A3B-1B94568E5AB2}" dt="2022-02-28T08:35:22.813" v="2716" actId="20577"/>
          <ac:spMkLst>
            <pc:docMk/>
            <pc:sldMk cId="4270189039" sldId="2147229460"/>
            <ac:spMk id="10" creationId="{F6E8E729-7F15-4727-8E85-10D3701B99C8}"/>
          </ac:spMkLst>
        </pc:spChg>
        <pc:spChg chg="mod">
          <ac:chgData name="KA, Alioune" userId="fe37275f-539e-4a12-8419-9118552aec31" providerId="ADAL" clId="{B8D22F86-0B0F-0246-8A3B-1B94568E5AB2}" dt="2022-02-24T10:28:34.610" v="2325" actId="207"/>
          <ac:spMkLst>
            <pc:docMk/>
            <pc:sldMk cId="4270189039" sldId="2147229460"/>
            <ac:spMk id="983" creationId="{00000000-0000-0000-0000-000000000000}"/>
          </ac:spMkLst>
        </pc:spChg>
      </pc:sldChg>
      <pc:sldChg chg="modSp add mod ord modNotesTx">
        <pc:chgData name="KA, Alioune" userId="fe37275f-539e-4a12-8419-9118552aec31" providerId="ADAL" clId="{B8D22F86-0B0F-0246-8A3B-1B94568E5AB2}" dt="2022-02-28T08:31:54.049" v="2712" actId="20577"/>
        <pc:sldMkLst>
          <pc:docMk/>
          <pc:sldMk cId="700603904" sldId="2147229461"/>
        </pc:sldMkLst>
        <pc:spChg chg="mod">
          <ac:chgData name="KA, Alioune" userId="fe37275f-539e-4a12-8419-9118552aec31" providerId="ADAL" clId="{B8D22F86-0B0F-0246-8A3B-1B94568E5AB2}" dt="2022-02-24T10:27:42.140" v="2320" actId="20577"/>
          <ac:spMkLst>
            <pc:docMk/>
            <pc:sldMk cId="700603904" sldId="2147229461"/>
            <ac:spMk id="983" creationId="{00000000-0000-0000-0000-000000000000}"/>
          </ac:spMkLst>
        </pc:spChg>
      </pc:sldChg>
      <pc:sldChg chg="modNotesTx">
        <pc:chgData name="KA, Alioune" userId="fe37275f-539e-4a12-8419-9118552aec31" providerId="ADAL" clId="{B8D22F86-0B0F-0246-8A3B-1B94568E5AB2}" dt="2022-02-28T08:28:08.868" v="2706" actId="20577"/>
        <pc:sldMkLst>
          <pc:docMk/>
          <pc:sldMk cId="4202593851" sldId="2147229462"/>
        </pc:sldMkLst>
      </pc:sldChg>
      <pc:sldChg chg="modSp mod">
        <pc:chgData name="KA, Alioune" userId="fe37275f-539e-4a12-8419-9118552aec31" providerId="ADAL" clId="{B8D22F86-0B0F-0246-8A3B-1B94568E5AB2}" dt="2022-02-28T08:42:04.167" v="2728" actId="1035"/>
        <pc:sldMkLst>
          <pc:docMk/>
          <pc:sldMk cId="1812937726" sldId="2147229471"/>
        </pc:sldMkLst>
        <pc:spChg chg="mod">
          <ac:chgData name="KA, Alioune" userId="fe37275f-539e-4a12-8419-9118552aec31" providerId="ADAL" clId="{B8D22F86-0B0F-0246-8A3B-1B94568E5AB2}" dt="2022-02-28T08:41:15.668" v="2719" actId="20577"/>
          <ac:spMkLst>
            <pc:docMk/>
            <pc:sldMk cId="1812937726" sldId="2147229471"/>
            <ac:spMk id="8" creationId="{3C0BE979-B0BF-477E-8C4A-17FB5793C8F7}"/>
          </ac:spMkLst>
        </pc:spChg>
        <pc:spChg chg="mod">
          <ac:chgData name="KA, Alioune" userId="fe37275f-539e-4a12-8419-9118552aec31" providerId="ADAL" clId="{B8D22F86-0B0F-0246-8A3B-1B94568E5AB2}" dt="2022-02-28T08:42:04.167" v="2728" actId="1035"/>
          <ac:spMkLst>
            <pc:docMk/>
            <pc:sldMk cId="1812937726" sldId="2147229471"/>
            <ac:spMk id="11" creationId="{0DD5092F-AA96-9345-9B21-03339BCCE837}"/>
          </ac:spMkLst>
        </pc:spChg>
      </pc:sldChg>
      <pc:sldChg chg="addSp delSp modSp mod modNotesTx">
        <pc:chgData name="KA, Alioune" userId="fe37275f-539e-4a12-8419-9118552aec31" providerId="ADAL" clId="{B8D22F86-0B0F-0246-8A3B-1B94568E5AB2}" dt="2022-02-28T08:37:45.514" v="2718" actId="478"/>
        <pc:sldMkLst>
          <pc:docMk/>
          <pc:sldMk cId="1281981869" sldId="2147229474"/>
        </pc:sldMkLst>
        <pc:spChg chg="mod">
          <ac:chgData name="KA, Alioune" userId="fe37275f-539e-4a12-8419-9118552aec31" providerId="ADAL" clId="{B8D22F86-0B0F-0246-8A3B-1B94568E5AB2}" dt="2022-02-28T08:03:20.187" v="2451" actId="1076"/>
          <ac:spMkLst>
            <pc:docMk/>
            <pc:sldMk cId="1281981869" sldId="2147229474"/>
            <ac:spMk id="4" creationId="{70A47EF6-6D02-4F76-93B5-0D8B84CF64E6}"/>
          </ac:spMkLst>
        </pc:spChg>
        <pc:spChg chg="add del mod">
          <ac:chgData name="KA, Alioune" userId="fe37275f-539e-4a12-8419-9118552aec31" providerId="ADAL" clId="{B8D22F86-0B0F-0246-8A3B-1B94568E5AB2}" dt="2022-02-28T08:07:06.937" v="2599"/>
          <ac:spMkLst>
            <pc:docMk/>
            <pc:sldMk cId="1281981869" sldId="2147229474"/>
            <ac:spMk id="34" creationId="{0C871350-4B9E-0E4F-920D-B99261352E64}"/>
          </ac:spMkLst>
        </pc:spChg>
        <pc:spChg chg="add del">
          <ac:chgData name="KA, Alioune" userId="fe37275f-539e-4a12-8419-9118552aec31" providerId="ADAL" clId="{B8D22F86-0B0F-0246-8A3B-1B94568E5AB2}" dt="2022-02-28T08:37:45.514" v="2718" actId="478"/>
          <ac:spMkLst>
            <pc:docMk/>
            <pc:sldMk cId="1281981869" sldId="2147229474"/>
            <ac:spMk id="58" creationId="{B696A4BB-2A04-4B40-9119-2523FDF98244}"/>
          </ac:spMkLst>
        </pc:spChg>
      </pc:sldChg>
      <pc:sldMasterChg chg="delSldLayout">
        <pc:chgData name="KA, Alioune" userId="fe37275f-539e-4a12-8419-9118552aec31" providerId="ADAL" clId="{B8D22F86-0B0F-0246-8A3B-1B94568E5AB2}" dt="2022-02-24T10:29:22.133" v="2326" actId="2696"/>
        <pc:sldMasterMkLst>
          <pc:docMk/>
          <pc:sldMasterMk cId="938901486" sldId="2147483660"/>
        </pc:sldMasterMkLst>
        <pc:sldLayoutChg chg="del">
          <pc:chgData name="KA, Alioune" userId="fe37275f-539e-4a12-8419-9118552aec31" providerId="ADAL" clId="{B8D22F86-0B0F-0246-8A3B-1B94568E5AB2}" dt="2022-02-24T10:29:22.133" v="2326" actId="2696"/>
          <pc:sldLayoutMkLst>
            <pc:docMk/>
            <pc:sldMasterMk cId="938901486" sldId="2147483660"/>
            <pc:sldLayoutMk cId="4211429558" sldId="2147483771"/>
          </pc:sldLayoutMkLst>
        </pc:sldLayoutChg>
      </pc:sldMasterChg>
    </pc:docChg>
  </pc:docChgLst>
  <pc:docChgLst>
    <pc:chgData name="IHADDADENE, Mohamed" userId="e01a991b-5a35-468b-af4c-bfe3aed91b77" providerId="ADAL" clId="{0190A323-5C32-454D-88FB-7A8FE2F15582}"/>
    <pc:docChg chg="modSld">
      <pc:chgData name="IHADDADENE, Mohamed" userId="e01a991b-5a35-468b-af4c-bfe3aed91b77" providerId="ADAL" clId="{0190A323-5C32-454D-88FB-7A8FE2F15582}" dt="2022-02-01T09:04:47.829" v="29" actId="1037"/>
      <pc:docMkLst>
        <pc:docMk/>
      </pc:docMkLst>
      <pc:sldChg chg="modSp">
        <pc:chgData name="IHADDADENE, Mohamed" userId="e01a991b-5a35-468b-af4c-bfe3aed91b77" providerId="ADAL" clId="{0190A323-5C32-454D-88FB-7A8FE2F15582}" dt="2022-02-01T09:04:47.829" v="29" actId="1037"/>
        <pc:sldMkLst>
          <pc:docMk/>
          <pc:sldMk cId="3429431810" sldId="2147229382"/>
        </pc:sldMkLst>
        <pc:picChg chg="mod">
          <ac:chgData name="IHADDADENE, Mohamed" userId="e01a991b-5a35-468b-af4c-bfe3aed91b77" providerId="ADAL" clId="{0190A323-5C32-454D-88FB-7A8FE2F15582}" dt="2022-02-01T09:04:47.829" v="29" actId="1037"/>
          <ac:picMkLst>
            <pc:docMk/>
            <pc:sldMk cId="3429431810" sldId="2147229382"/>
            <ac:picMk id="1026" creationId="{6729DA25-94E5-493F-B8D3-29D940683E88}"/>
          </ac:picMkLst>
        </pc:picChg>
      </pc:sldChg>
    </pc:docChg>
  </pc:docChgLst>
  <pc:docChgLst>
    <pc:chgData name="LAISSAOUI, Ghita" userId="S::ghita.laissaoui@capgemini.com::ac8a0427-4948-4bf4-bb5c-4b9a41a9bd01" providerId="AD" clId="Web-{B4D726AC-CBA9-40C6-A83C-4D8491C81E54}"/>
    <pc:docChg chg="modSld">
      <pc:chgData name="LAISSAOUI, Ghita" userId="S::ghita.laissaoui@capgemini.com::ac8a0427-4948-4bf4-bb5c-4b9a41a9bd01" providerId="AD" clId="Web-{B4D726AC-CBA9-40C6-A83C-4D8491C81E54}" dt="2022-01-25T16:44:19.623" v="26"/>
      <pc:docMkLst>
        <pc:docMk/>
      </pc:docMkLst>
      <pc:sldChg chg="modNotes">
        <pc:chgData name="LAISSAOUI, Ghita" userId="S::ghita.laissaoui@capgemini.com::ac8a0427-4948-4bf4-bb5c-4b9a41a9bd01" providerId="AD" clId="Web-{B4D726AC-CBA9-40C6-A83C-4D8491C81E54}" dt="2022-01-25T16:43:38.122" v="7"/>
        <pc:sldMkLst>
          <pc:docMk/>
          <pc:sldMk cId="585301086" sldId="2145706328"/>
        </pc:sldMkLst>
      </pc:sldChg>
      <pc:sldChg chg="modSp modNotes">
        <pc:chgData name="LAISSAOUI, Ghita" userId="S::ghita.laissaoui@capgemini.com::ac8a0427-4948-4bf4-bb5c-4b9a41a9bd01" providerId="AD" clId="Web-{B4D726AC-CBA9-40C6-A83C-4D8491C81E54}" dt="2022-01-25T16:44:19.623" v="26"/>
        <pc:sldMkLst>
          <pc:docMk/>
          <pc:sldMk cId="2345305854" sldId="2147229389"/>
        </pc:sldMkLst>
        <pc:spChg chg="mod">
          <ac:chgData name="LAISSAOUI, Ghita" userId="S::ghita.laissaoui@capgemini.com::ac8a0427-4948-4bf4-bb5c-4b9a41a9bd01" providerId="AD" clId="Web-{B4D726AC-CBA9-40C6-A83C-4D8491C81E54}" dt="2022-01-25T16:44:11.857" v="14" actId="20577"/>
          <ac:spMkLst>
            <pc:docMk/>
            <pc:sldMk cId="2345305854" sldId="2147229389"/>
            <ac:spMk id="16" creationId="{B4848C3B-C5E0-4346-B69B-1A6C1F0046E5}"/>
          </ac:spMkLst>
        </pc:spChg>
      </pc:sldChg>
    </pc:docChg>
  </pc:docChgLst>
  <pc:docChgLst>
    <pc:chgData name="IHADDADENE, Mohamed" userId="e01a991b-5a35-468b-af4c-bfe3aed91b77" providerId="ADAL" clId="{482B38D3-C914-4A34-B877-0B22FDA5E7EA}"/>
    <pc:docChg chg="undo redo custSel addSld delSld modSld sldOrd">
      <pc:chgData name="IHADDADENE, Mohamed" userId="e01a991b-5a35-468b-af4c-bfe3aed91b77" providerId="ADAL" clId="{482B38D3-C914-4A34-B877-0B22FDA5E7EA}" dt="2022-02-28T08:21:44.241" v="7838" actId="20577"/>
      <pc:docMkLst>
        <pc:docMk/>
      </pc:docMkLst>
      <pc:sldChg chg="delSp modSp mod">
        <pc:chgData name="IHADDADENE, Mohamed" userId="e01a991b-5a35-468b-af4c-bfe3aed91b77" providerId="ADAL" clId="{482B38D3-C914-4A34-B877-0B22FDA5E7EA}" dt="2022-02-25T12:52:42.444" v="914" actId="2711"/>
        <pc:sldMkLst>
          <pc:docMk/>
          <pc:sldMk cId="3429431810" sldId="2147229382"/>
        </pc:sldMkLst>
        <pc:spChg chg="mod">
          <ac:chgData name="IHADDADENE, Mohamed" userId="e01a991b-5a35-468b-af4c-bfe3aed91b77" providerId="ADAL" clId="{482B38D3-C914-4A34-B877-0B22FDA5E7EA}" dt="2022-02-25T12:48:31.017" v="732" actId="2711"/>
          <ac:spMkLst>
            <pc:docMk/>
            <pc:sldMk cId="3429431810" sldId="2147229382"/>
            <ac:spMk id="7" creationId="{3DA94280-24D9-4AB5-9275-46F9BF72BED8}"/>
          </ac:spMkLst>
        </pc:spChg>
        <pc:spChg chg="mod">
          <ac:chgData name="IHADDADENE, Mohamed" userId="e01a991b-5a35-468b-af4c-bfe3aed91b77" providerId="ADAL" clId="{482B38D3-C914-4A34-B877-0B22FDA5E7EA}" dt="2022-02-25T12:52:42.444" v="914" actId="2711"/>
          <ac:spMkLst>
            <pc:docMk/>
            <pc:sldMk cId="3429431810" sldId="2147229382"/>
            <ac:spMk id="8" creationId="{93FD5088-6A76-4416-A61E-EB06DE05F6FC}"/>
          </ac:spMkLst>
        </pc:spChg>
        <pc:spChg chg="mod">
          <ac:chgData name="IHADDADENE, Mohamed" userId="e01a991b-5a35-468b-af4c-bfe3aed91b77" providerId="ADAL" clId="{482B38D3-C914-4A34-B877-0B22FDA5E7EA}" dt="2022-02-25T12:52:32.215" v="912" actId="2711"/>
          <ac:spMkLst>
            <pc:docMk/>
            <pc:sldMk cId="3429431810" sldId="2147229382"/>
            <ac:spMk id="9" creationId="{C21F8C94-5273-48E9-AD72-CE4854AAD7C9}"/>
          </ac:spMkLst>
        </pc:spChg>
        <pc:spChg chg="del">
          <ac:chgData name="IHADDADENE, Mohamed" userId="e01a991b-5a35-468b-af4c-bfe3aed91b77" providerId="ADAL" clId="{482B38D3-C914-4A34-B877-0B22FDA5E7EA}" dt="2022-02-25T12:48:23.534" v="731" actId="478"/>
          <ac:spMkLst>
            <pc:docMk/>
            <pc:sldMk cId="3429431810" sldId="2147229382"/>
            <ac:spMk id="29" creationId="{C8029EC2-5C67-0146-8555-44867B15A567}"/>
          </ac:spMkLst>
        </pc:spChg>
        <pc:picChg chg="mod">
          <ac:chgData name="IHADDADENE, Mohamed" userId="e01a991b-5a35-468b-af4c-bfe3aed91b77" providerId="ADAL" clId="{482B38D3-C914-4A34-B877-0B22FDA5E7EA}" dt="2022-02-25T12:50:21.878" v="834" actId="1037"/>
          <ac:picMkLst>
            <pc:docMk/>
            <pc:sldMk cId="3429431810" sldId="2147229382"/>
            <ac:picMk id="37" creationId="{23AEFF4D-86BA-4E21-8B1A-FB7075BC8C06}"/>
          </ac:picMkLst>
        </pc:picChg>
        <pc:picChg chg="mod">
          <ac:chgData name="IHADDADENE, Mohamed" userId="e01a991b-5a35-468b-af4c-bfe3aed91b77" providerId="ADAL" clId="{482B38D3-C914-4A34-B877-0B22FDA5E7EA}" dt="2022-02-25T12:51:34.392" v="901" actId="1038"/>
          <ac:picMkLst>
            <pc:docMk/>
            <pc:sldMk cId="3429431810" sldId="2147229382"/>
            <ac:picMk id="46" creationId="{034AA762-6BA5-4A5F-AECF-58AE261F4B40}"/>
          </ac:picMkLst>
        </pc:picChg>
      </pc:sldChg>
      <pc:sldChg chg="del">
        <pc:chgData name="IHADDADENE, Mohamed" userId="e01a991b-5a35-468b-af4c-bfe3aed91b77" providerId="ADAL" clId="{482B38D3-C914-4A34-B877-0B22FDA5E7EA}" dt="2022-02-25T13:37:10.734" v="1710" actId="47"/>
        <pc:sldMkLst>
          <pc:docMk/>
          <pc:sldMk cId="2784728507" sldId="2147229388"/>
        </pc:sldMkLst>
      </pc:sldChg>
      <pc:sldChg chg="delSp del mod ord">
        <pc:chgData name="IHADDADENE, Mohamed" userId="e01a991b-5a35-468b-af4c-bfe3aed91b77" providerId="ADAL" clId="{482B38D3-C914-4A34-B877-0B22FDA5E7EA}" dt="2022-02-27T22:47:01.583" v="6753" actId="47"/>
        <pc:sldMkLst>
          <pc:docMk/>
          <pc:sldMk cId="2345305854" sldId="2147229389"/>
        </pc:sldMkLst>
        <pc:spChg chg="del">
          <ac:chgData name="IHADDADENE, Mohamed" userId="e01a991b-5a35-468b-af4c-bfe3aed91b77" providerId="ADAL" clId="{482B38D3-C914-4A34-B877-0B22FDA5E7EA}" dt="2022-02-25T15:02:09.709" v="3169" actId="478"/>
          <ac:spMkLst>
            <pc:docMk/>
            <pc:sldMk cId="2345305854" sldId="2147229389"/>
            <ac:spMk id="23" creationId="{94D73F09-CF19-4AA3-82D9-B79780D4D1B2}"/>
          </ac:spMkLst>
        </pc:spChg>
      </pc:sldChg>
      <pc:sldChg chg="delSp del mod">
        <pc:chgData name="IHADDADENE, Mohamed" userId="e01a991b-5a35-468b-af4c-bfe3aed91b77" providerId="ADAL" clId="{482B38D3-C914-4A34-B877-0B22FDA5E7EA}" dt="2022-02-25T18:13:41.504" v="4663" actId="47"/>
        <pc:sldMkLst>
          <pc:docMk/>
          <pc:sldMk cId="1950180443" sldId="2147229395"/>
        </pc:sldMkLst>
        <pc:spChg chg="del">
          <ac:chgData name="IHADDADENE, Mohamed" userId="e01a991b-5a35-468b-af4c-bfe3aed91b77" providerId="ADAL" clId="{482B38D3-C914-4A34-B877-0B22FDA5E7EA}" dt="2022-02-25T15:02:25.835" v="3175" actId="478"/>
          <ac:spMkLst>
            <pc:docMk/>
            <pc:sldMk cId="1950180443" sldId="2147229395"/>
            <ac:spMk id="7" creationId="{4F70C3AB-768F-426E-B712-5F437B73627B}"/>
          </ac:spMkLst>
        </pc:spChg>
      </pc:sldChg>
      <pc:sldChg chg="delSp modSp mod">
        <pc:chgData name="IHADDADENE, Mohamed" userId="e01a991b-5a35-468b-af4c-bfe3aed91b77" providerId="ADAL" clId="{482B38D3-C914-4A34-B877-0B22FDA5E7EA}" dt="2022-02-25T15:01:49.051" v="3163" actId="478"/>
        <pc:sldMkLst>
          <pc:docMk/>
          <pc:sldMk cId="3919235774" sldId="2147229396"/>
        </pc:sldMkLst>
        <pc:spChg chg="del">
          <ac:chgData name="IHADDADENE, Mohamed" userId="e01a991b-5a35-468b-af4c-bfe3aed91b77" providerId="ADAL" clId="{482B38D3-C914-4A34-B877-0B22FDA5E7EA}" dt="2022-02-25T15:01:49.051" v="3163" actId="478"/>
          <ac:spMkLst>
            <pc:docMk/>
            <pc:sldMk cId="3919235774" sldId="2147229396"/>
            <ac:spMk id="21" creationId="{2DE06726-98E2-F64B-AC05-9D2299056947}"/>
          </ac:spMkLst>
        </pc:spChg>
        <pc:spChg chg="mod">
          <ac:chgData name="IHADDADENE, Mohamed" userId="e01a991b-5a35-468b-af4c-bfe3aed91b77" providerId="ADAL" clId="{482B38D3-C914-4A34-B877-0B22FDA5E7EA}" dt="2022-02-25T12:52:58.687" v="916" actId="2711"/>
          <ac:spMkLst>
            <pc:docMk/>
            <pc:sldMk cId="3919235774" sldId="2147229396"/>
            <ac:spMk id="26" creationId="{3E135B3C-4C1A-46CA-B4B1-E1246DC64729}"/>
          </ac:spMkLst>
        </pc:spChg>
      </pc:sldChg>
      <pc:sldChg chg="del">
        <pc:chgData name="IHADDADENE, Mohamed" userId="e01a991b-5a35-468b-af4c-bfe3aed91b77" providerId="ADAL" clId="{482B38D3-C914-4A34-B877-0B22FDA5E7EA}" dt="2022-02-25T13:41:20.196" v="1852" actId="47"/>
        <pc:sldMkLst>
          <pc:docMk/>
          <pc:sldMk cId="3414044056" sldId="2147229407"/>
        </pc:sldMkLst>
      </pc:sldChg>
      <pc:sldChg chg="delSp modSp mod">
        <pc:chgData name="IHADDADENE, Mohamed" userId="e01a991b-5a35-468b-af4c-bfe3aed91b77" providerId="ADAL" clId="{482B38D3-C914-4A34-B877-0B22FDA5E7EA}" dt="2022-02-25T12:48:09.484" v="730" actId="20577"/>
        <pc:sldMkLst>
          <pc:docMk/>
          <pc:sldMk cId="1128458317" sldId="2147229410"/>
        </pc:sldMkLst>
        <pc:spChg chg="del">
          <ac:chgData name="IHADDADENE, Mohamed" userId="e01a991b-5a35-468b-af4c-bfe3aed91b77" providerId="ADAL" clId="{482B38D3-C914-4A34-B877-0B22FDA5E7EA}" dt="2022-02-25T12:42:53.888" v="665" actId="478"/>
          <ac:spMkLst>
            <pc:docMk/>
            <pc:sldMk cId="1128458317" sldId="2147229410"/>
            <ac:spMk id="3" creationId="{AE38F34A-7FFF-8747-BBC6-2FA1A138C04D}"/>
          </ac:spMkLst>
        </pc:spChg>
        <pc:spChg chg="del">
          <ac:chgData name="IHADDADENE, Mohamed" userId="e01a991b-5a35-468b-af4c-bfe3aed91b77" providerId="ADAL" clId="{482B38D3-C914-4A34-B877-0B22FDA5E7EA}" dt="2022-02-25T12:41:56.504" v="627" actId="478"/>
          <ac:spMkLst>
            <pc:docMk/>
            <pc:sldMk cId="1128458317" sldId="2147229410"/>
            <ac:spMk id="8" creationId="{EBD51FE3-0C7C-4E2D-962B-E49934EA2DFC}"/>
          </ac:spMkLst>
        </pc:spChg>
        <pc:spChg chg="mod">
          <ac:chgData name="IHADDADENE, Mohamed" userId="e01a991b-5a35-468b-af4c-bfe3aed91b77" providerId="ADAL" clId="{482B38D3-C914-4A34-B877-0B22FDA5E7EA}" dt="2022-02-25T12:46:52.902" v="719" actId="20577"/>
          <ac:spMkLst>
            <pc:docMk/>
            <pc:sldMk cId="1128458317" sldId="2147229410"/>
            <ac:spMk id="14" creationId="{4C420B6D-E27F-4B66-86D9-4F0FF66D9FA6}"/>
          </ac:spMkLst>
        </pc:spChg>
        <pc:spChg chg="mod">
          <ac:chgData name="IHADDADENE, Mohamed" userId="e01a991b-5a35-468b-af4c-bfe3aed91b77" providerId="ADAL" clId="{482B38D3-C914-4A34-B877-0B22FDA5E7EA}" dt="2022-02-25T12:47:55.576" v="722" actId="20577"/>
          <ac:spMkLst>
            <pc:docMk/>
            <pc:sldMk cId="1128458317" sldId="2147229410"/>
            <ac:spMk id="19" creationId="{8D4067B0-97C7-4124-BB62-904984B2F76D}"/>
          </ac:spMkLst>
        </pc:spChg>
        <pc:spChg chg="mod">
          <ac:chgData name="IHADDADENE, Mohamed" userId="e01a991b-5a35-468b-af4c-bfe3aed91b77" providerId="ADAL" clId="{482B38D3-C914-4A34-B877-0B22FDA5E7EA}" dt="2022-02-25T12:48:09.484" v="730" actId="20577"/>
          <ac:spMkLst>
            <pc:docMk/>
            <pc:sldMk cId="1128458317" sldId="2147229410"/>
            <ac:spMk id="20" creationId="{D819D75E-6990-42A0-B121-2D5D4C647E60}"/>
          </ac:spMkLst>
        </pc:spChg>
        <pc:spChg chg="mod">
          <ac:chgData name="IHADDADENE, Mohamed" userId="e01a991b-5a35-468b-af4c-bfe3aed91b77" providerId="ADAL" clId="{482B38D3-C914-4A34-B877-0B22FDA5E7EA}" dt="2022-02-25T12:44:11.482" v="667" actId="2711"/>
          <ac:spMkLst>
            <pc:docMk/>
            <pc:sldMk cId="1128458317" sldId="2147229410"/>
            <ac:spMk id="983" creationId="{00000000-0000-0000-0000-000000000000}"/>
          </ac:spMkLst>
        </pc:spChg>
      </pc:sldChg>
      <pc:sldChg chg="del">
        <pc:chgData name="IHADDADENE, Mohamed" userId="e01a991b-5a35-468b-af4c-bfe3aed91b77" providerId="ADAL" clId="{482B38D3-C914-4A34-B877-0B22FDA5E7EA}" dt="2022-02-25T13:36:32.144" v="1639" actId="47"/>
        <pc:sldMkLst>
          <pc:docMk/>
          <pc:sldMk cId="2851188495" sldId="2147229429"/>
        </pc:sldMkLst>
      </pc:sldChg>
      <pc:sldChg chg="del">
        <pc:chgData name="IHADDADENE, Mohamed" userId="e01a991b-5a35-468b-af4c-bfe3aed91b77" providerId="ADAL" clId="{482B38D3-C914-4A34-B877-0B22FDA5E7EA}" dt="2022-02-25T13:41:59.456" v="1855" actId="47"/>
        <pc:sldMkLst>
          <pc:docMk/>
          <pc:sldMk cId="2660795044" sldId="2147229430"/>
        </pc:sldMkLst>
      </pc:sldChg>
      <pc:sldChg chg="delSp add del mod">
        <pc:chgData name="IHADDADENE, Mohamed" userId="e01a991b-5a35-468b-af4c-bfe3aed91b77" providerId="ADAL" clId="{482B38D3-C914-4A34-B877-0B22FDA5E7EA}" dt="2022-02-25T18:13:40.223" v="4661" actId="47"/>
        <pc:sldMkLst>
          <pc:docMk/>
          <pc:sldMk cId="3729719854" sldId="2147229431"/>
        </pc:sldMkLst>
        <pc:spChg chg="del">
          <ac:chgData name="IHADDADENE, Mohamed" userId="e01a991b-5a35-468b-af4c-bfe3aed91b77" providerId="ADAL" clId="{482B38D3-C914-4A34-B877-0B22FDA5E7EA}" dt="2022-02-25T15:02:19.979" v="3173" actId="478"/>
          <ac:spMkLst>
            <pc:docMk/>
            <pc:sldMk cId="3729719854" sldId="2147229431"/>
            <ac:spMk id="6" creationId="{D73C4A8D-64C5-4F54-8093-F89DA9D51474}"/>
          </ac:spMkLst>
        </pc:spChg>
      </pc:sldChg>
      <pc:sldChg chg="delSp del mod">
        <pc:chgData name="IHADDADENE, Mohamed" userId="e01a991b-5a35-468b-af4c-bfe3aed91b77" providerId="ADAL" clId="{482B38D3-C914-4A34-B877-0B22FDA5E7EA}" dt="2022-02-25T18:13:40.832" v="4662" actId="47"/>
        <pc:sldMkLst>
          <pc:docMk/>
          <pc:sldMk cId="142916459" sldId="2147229432"/>
        </pc:sldMkLst>
        <pc:spChg chg="del">
          <ac:chgData name="IHADDADENE, Mohamed" userId="e01a991b-5a35-468b-af4c-bfe3aed91b77" providerId="ADAL" clId="{482B38D3-C914-4A34-B877-0B22FDA5E7EA}" dt="2022-02-25T15:02:22.824" v="3174" actId="478"/>
          <ac:spMkLst>
            <pc:docMk/>
            <pc:sldMk cId="142916459" sldId="2147229432"/>
            <ac:spMk id="7" creationId="{0ABE7C02-8DD1-46A9-9E1C-DC0F405510BD}"/>
          </ac:spMkLst>
        </pc:spChg>
      </pc:sldChg>
      <pc:sldChg chg="delSp del mod">
        <pc:chgData name="IHADDADENE, Mohamed" userId="e01a991b-5a35-468b-af4c-bfe3aed91b77" providerId="ADAL" clId="{482B38D3-C914-4A34-B877-0B22FDA5E7EA}" dt="2022-02-25T18:13:42.173" v="4664" actId="47"/>
        <pc:sldMkLst>
          <pc:docMk/>
          <pc:sldMk cId="2409347362" sldId="2147229433"/>
        </pc:sldMkLst>
        <pc:spChg chg="del">
          <ac:chgData name="IHADDADENE, Mohamed" userId="e01a991b-5a35-468b-af4c-bfe3aed91b77" providerId="ADAL" clId="{482B38D3-C914-4A34-B877-0B22FDA5E7EA}" dt="2022-02-25T15:02:28.493" v="3176" actId="478"/>
          <ac:spMkLst>
            <pc:docMk/>
            <pc:sldMk cId="2409347362" sldId="2147229433"/>
            <ac:spMk id="5" creationId="{AD3AABFE-E8CB-48C2-BA9D-CDAF4A4A8510}"/>
          </ac:spMkLst>
        </pc:spChg>
      </pc:sldChg>
      <pc:sldChg chg="del">
        <pc:chgData name="IHADDADENE, Mohamed" userId="e01a991b-5a35-468b-af4c-bfe3aed91b77" providerId="ADAL" clId="{482B38D3-C914-4A34-B877-0B22FDA5E7EA}" dt="2022-02-25T13:41:24.354" v="1854" actId="47"/>
        <pc:sldMkLst>
          <pc:docMk/>
          <pc:sldMk cId="1402139021" sldId="2147229434"/>
        </pc:sldMkLst>
      </pc:sldChg>
      <pc:sldChg chg="del">
        <pc:chgData name="IHADDADENE, Mohamed" userId="e01a991b-5a35-468b-af4c-bfe3aed91b77" providerId="ADAL" clId="{482B38D3-C914-4A34-B877-0B22FDA5E7EA}" dt="2022-02-25T13:41:22.186" v="1853" actId="47"/>
        <pc:sldMkLst>
          <pc:docMk/>
          <pc:sldMk cId="455876211" sldId="2147229435"/>
        </pc:sldMkLst>
      </pc:sldChg>
      <pc:sldChg chg="delSp del mod">
        <pc:chgData name="IHADDADENE, Mohamed" userId="e01a991b-5a35-468b-af4c-bfe3aed91b77" providerId="ADAL" clId="{482B38D3-C914-4A34-B877-0B22FDA5E7EA}" dt="2022-02-25T18:13:42.964" v="4665" actId="47"/>
        <pc:sldMkLst>
          <pc:docMk/>
          <pc:sldMk cId="3361191559" sldId="2147229436"/>
        </pc:sldMkLst>
        <pc:spChg chg="del">
          <ac:chgData name="IHADDADENE, Mohamed" userId="e01a991b-5a35-468b-af4c-bfe3aed91b77" providerId="ADAL" clId="{482B38D3-C914-4A34-B877-0B22FDA5E7EA}" dt="2022-02-25T15:02:31.385" v="3177" actId="478"/>
          <ac:spMkLst>
            <pc:docMk/>
            <pc:sldMk cId="3361191559" sldId="2147229436"/>
            <ac:spMk id="5" creationId="{352DBB27-250B-4ECA-B5C4-19E7ADED6563}"/>
          </ac:spMkLst>
        </pc:spChg>
      </pc:sldChg>
      <pc:sldChg chg="delSp del mod">
        <pc:chgData name="IHADDADENE, Mohamed" userId="e01a991b-5a35-468b-af4c-bfe3aed91b77" providerId="ADAL" clId="{482B38D3-C914-4A34-B877-0B22FDA5E7EA}" dt="2022-02-25T18:13:44.151" v="4666" actId="47"/>
        <pc:sldMkLst>
          <pc:docMk/>
          <pc:sldMk cId="3460592649" sldId="2147229437"/>
        </pc:sldMkLst>
        <pc:spChg chg="del">
          <ac:chgData name="IHADDADENE, Mohamed" userId="e01a991b-5a35-468b-af4c-bfe3aed91b77" providerId="ADAL" clId="{482B38D3-C914-4A34-B877-0B22FDA5E7EA}" dt="2022-02-25T15:02:33.840" v="3178" actId="478"/>
          <ac:spMkLst>
            <pc:docMk/>
            <pc:sldMk cId="3460592649" sldId="2147229437"/>
            <ac:spMk id="8" creationId="{7EC731C3-0F8B-46CA-AEDF-A7757FA82E68}"/>
          </ac:spMkLst>
        </pc:spChg>
      </pc:sldChg>
      <pc:sldChg chg="delSp del mod">
        <pc:chgData name="IHADDADENE, Mohamed" userId="e01a991b-5a35-468b-af4c-bfe3aed91b77" providerId="ADAL" clId="{482B38D3-C914-4A34-B877-0B22FDA5E7EA}" dt="2022-02-25T18:13:45.001" v="4667" actId="47"/>
        <pc:sldMkLst>
          <pc:docMk/>
          <pc:sldMk cId="2646646187" sldId="2147229438"/>
        </pc:sldMkLst>
        <pc:spChg chg="del">
          <ac:chgData name="IHADDADENE, Mohamed" userId="e01a991b-5a35-468b-af4c-bfe3aed91b77" providerId="ADAL" clId="{482B38D3-C914-4A34-B877-0B22FDA5E7EA}" dt="2022-02-25T15:02:36.737" v="3179" actId="478"/>
          <ac:spMkLst>
            <pc:docMk/>
            <pc:sldMk cId="2646646187" sldId="2147229438"/>
            <ac:spMk id="9" creationId="{CF5AE876-57C9-41F0-B5EB-EC8B8DCA9768}"/>
          </ac:spMkLst>
        </pc:spChg>
      </pc:sldChg>
      <pc:sldChg chg="del">
        <pc:chgData name="IHADDADENE, Mohamed" userId="e01a991b-5a35-468b-af4c-bfe3aed91b77" providerId="ADAL" clId="{482B38D3-C914-4A34-B877-0B22FDA5E7EA}" dt="2022-02-25T13:41:02.841" v="1851" actId="47"/>
        <pc:sldMkLst>
          <pc:docMk/>
          <pc:sldMk cId="1768657405" sldId="2147229439"/>
        </pc:sldMkLst>
      </pc:sldChg>
      <pc:sldChg chg="delSp del mod">
        <pc:chgData name="IHADDADENE, Mohamed" userId="e01a991b-5a35-468b-af4c-bfe3aed91b77" providerId="ADAL" clId="{482B38D3-C914-4A34-B877-0B22FDA5E7EA}" dt="2022-02-25T18:13:46.625" v="4668" actId="47"/>
        <pc:sldMkLst>
          <pc:docMk/>
          <pc:sldMk cId="3496321952" sldId="2147229440"/>
        </pc:sldMkLst>
        <pc:spChg chg="del">
          <ac:chgData name="IHADDADENE, Mohamed" userId="e01a991b-5a35-468b-af4c-bfe3aed91b77" providerId="ADAL" clId="{482B38D3-C914-4A34-B877-0B22FDA5E7EA}" dt="2022-02-25T15:02:39.001" v="3180" actId="478"/>
          <ac:spMkLst>
            <pc:docMk/>
            <pc:sldMk cId="3496321952" sldId="2147229440"/>
            <ac:spMk id="7" creationId="{01F08ECD-67AE-4539-A23B-F9D8B81489E5}"/>
          </ac:spMkLst>
        </pc:spChg>
      </pc:sldChg>
      <pc:sldChg chg="del">
        <pc:chgData name="IHADDADENE, Mohamed" userId="e01a991b-5a35-468b-af4c-bfe3aed91b77" providerId="ADAL" clId="{482B38D3-C914-4A34-B877-0B22FDA5E7EA}" dt="2022-02-25T13:40:59.545" v="1850" actId="47"/>
        <pc:sldMkLst>
          <pc:docMk/>
          <pc:sldMk cId="2190017781" sldId="2147229441"/>
        </pc:sldMkLst>
      </pc:sldChg>
      <pc:sldChg chg="modSp mod modNotesTx">
        <pc:chgData name="IHADDADENE, Mohamed" userId="e01a991b-5a35-468b-af4c-bfe3aed91b77" providerId="ADAL" clId="{482B38D3-C914-4A34-B877-0B22FDA5E7EA}" dt="2022-02-27T22:59:20.179" v="7131"/>
        <pc:sldMkLst>
          <pc:docMk/>
          <pc:sldMk cId="276656327" sldId="2147229443"/>
        </pc:sldMkLst>
        <pc:spChg chg="mod">
          <ac:chgData name="IHADDADENE, Mohamed" userId="e01a991b-5a35-468b-af4c-bfe3aed91b77" providerId="ADAL" clId="{482B38D3-C914-4A34-B877-0B22FDA5E7EA}" dt="2022-02-27T22:59:20.179" v="7131"/>
          <ac:spMkLst>
            <pc:docMk/>
            <pc:sldMk cId="276656327" sldId="2147229443"/>
            <ac:spMk id="8" creationId="{3C0BE979-B0BF-477E-8C4A-17FB5793C8F7}"/>
          </ac:spMkLst>
        </pc:spChg>
        <pc:spChg chg="mod">
          <ac:chgData name="IHADDADENE, Mohamed" userId="e01a991b-5a35-468b-af4c-bfe3aed91b77" providerId="ADAL" clId="{482B38D3-C914-4A34-B877-0B22FDA5E7EA}" dt="2022-02-27T21:02:00.325" v="4709" actId="1035"/>
          <ac:spMkLst>
            <pc:docMk/>
            <pc:sldMk cId="276656327" sldId="2147229443"/>
            <ac:spMk id="11" creationId="{0DD5092F-AA96-9345-9B21-03339BCCE837}"/>
          </ac:spMkLst>
        </pc:spChg>
      </pc:sldChg>
      <pc:sldChg chg="delSp mod">
        <pc:chgData name="IHADDADENE, Mohamed" userId="e01a991b-5a35-468b-af4c-bfe3aed91b77" providerId="ADAL" clId="{482B38D3-C914-4A34-B877-0B22FDA5E7EA}" dt="2022-02-25T15:01:52.868" v="3164" actId="478"/>
        <pc:sldMkLst>
          <pc:docMk/>
          <pc:sldMk cId="3527458742" sldId="2147229446"/>
        </pc:sldMkLst>
        <pc:spChg chg="del">
          <ac:chgData name="IHADDADENE, Mohamed" userId="e01a991b-5a35-468b-af4c-bfe3aed91b77" providerId="ADAL" clId="{482B38D3-C914-4A34-B877-0B22FDA5E7EA}" dt="2022-02-25T15:01:52.868" v="3164" actId="478"/>
          <ac:spMkLst>
            <pc:docMk/>
            <pc:sldMk cId="3527458742" sldId="2147229446"/>
            <ac:spMk id="124" creationId="{7CD81E8F-EA5D-504C-899B-81E75AA7F57C}"/>
          </ac:spMkLst>
        </pc:spChg>
      </pc:sldChg>
      <pc:sldChg chg="ord">
        <pc:chgData name="IHADDADENE, Mohamed" userId="e01a991b-5a35-468b-af4c-bfe3aed91b77" providerId="ADAL" clId="{482B38D3-C914-4A34-B877-0B22FDA5E7EA}" dt="2022-02-25T13:33:55.230" v="1426"/>
        <pc:sldMkLst>
          <pc:docMk/>
          <pc:sldMk cId="2746447157" sldId="2147229447"/>
        </pc:sldMkLst>
      </pc:sldChg>
      <pc:sldChg chg="addSp delSp modSp mod ord modNotesTx">
        <pc:chgData name="IHADDADENE, Mohamed" userId="e01a991b-5a35-468b-af4c-bfe3aed91b77" providerId="ADAL" clId="{482B38D3-C914-4A34-B877-0B22FDA5E7EA}" dt="2022-02-25T17:38:07.282" v="4574" actId="20577"/>
        <pc:sldMkLst>
          <pc:docMk/>
          <pc:sldMk cId="4130323097" sldId="2147229448"/>
        </pc:sldMkLst>
        <pc:spChg chg="mod">
          <ac:chgData name="IHADDADENE, Mohamed" userId="e01a991b-5a35-468b-af4c-bfe3aed91b77" providerId="ADAL" clId="{482B38D3-C914-4A34-B877-0B22FDA5E7EA}" dt="2022-02-25T17:37:20.433" v="4555" actId="1035"/>
          <ac:spMkLst>
            <pc:docMk/>
            <pc:sldMk cId="4130323097" sldId="2147229448"/>
            <ac:spMk id="2" creationId="{23D7B51F-DDF8-054C-B7AC-E1F75A75C5A9}"/>
          </ac:spMkLst>
        </pc:spChg>
        <pc:spChg chg="del mod">
          <ac:chgData name="IHADDADENE, Mohamed" userId="e01a991b-5a35-468b-af4c-bfe3aed91b77" providerId="ADAL" clId="{482B38D3-C914-4A34-B877-0B22FDA5E7EA}" dt="2022-02-25T15:50:20.072" v="3926" actId="478"/>
          <ac:spMkLst>
            <pc:docMk/>
            <pc:sldMk cId="4130323097" sldId="2147229448"/>
            <ac:spMk id="3" creationId="{112DA407-4F68-3044-97DA-BA3F9EFA9D10}"/>
          </ac:spMkLst>
        </pc:spChg>
        <pc:spChg chg="add mod">
          <ac:chgData name="IHADDADENE, Mohamed" userId="e01a991b-5a35-468b-af4c-bfe3aed91b77" providerId="ADAL" clId="{482B38D3-C914-4A34-B877-0B22FDA5E7EA}" dt="2022-02-25T15:48:37.779" v="3888" actId="1076"/>
          <ac:spMkLst>
            <pc:docMk/>
            <pc:sldMk cId="4130323097" sldId="2147229448"/>
            <ac:spMk id="4" creationId="{17D5DDD1-9DBC-4E31-8EE5-F3438F76F105}"/>
          </ac:spMkLst>
        </pc:spChg>
        <pc:spChg chg="add del mod">
          <ac:chgData name="IHADDADENE, Mohamed" userId="e01a991b-5a35-468b-af4c-bfe3aed91b77" providerId="ADAL" clId="{482B38D3-C914-4A34-B877-0B22FDA5E7EA}" dt="2022-02-25T15:38:48.432" v="3372" actId="478"/>
          <ac:spMkLst>
            <pc:docMk/>
            <pc:sldMk cId="4130323097" sldId="2147229448"/>
            <ac:spMk id="40" creationId="{837D12D5-B55A-40C0-BC10-8557DA5E3C45}"/>
          </ac:spMkLst>
        </pc:spChg>
        <pc:spChg chg="add mod">
          <ac:chgData name="IHADDADENE, Mohamed" userId="e01a991b-5a35-468b-af4c-bfe3aed91b77" providerId="ADAL" clId="{482B38D3-C914-4A34-B877-0B22FDA5E7EA}" dt="2022-02-25T17:37:26.749" v="4571" actId="1036"/>
          <ac:spMkLst>
            <pc:docMk/>
            <pc:sldMk cId="4130323097" sldId="2147229448"/>
            <ac:spMk id="42" creationId="{9FE6976F-4A85-451D-8354-3860FE03FCF7}"/>
          </ac:spMkLst>
        </pc:spChg>
        <pc:spChg chg="mod">
          <ac:chgData name="IHADDADENE, Mohamed" userId="e01a991b-5a35-468b-af4c-bfe3aed91b77" providerId="ADAL" clId="{482B38D3-C914-4A34-B877-0B22FDA5E7EA}" dt="2022-02-25T16:05:18.004" v="4325" actId="1036"/>
          <ac:spMkLst>
            <pc:docMk/>
            <pc:sldMk cId="4130323097" sldId="2147229448"/>
            <ac:spMk id="80" creationId="{BABDD72D-A7F4-8C42-AC59-CA1B0AE4D7E2}"/>
          </ac:spMkLst>
        </pc:spChg>
        <pc:spChg chg="mod">
          <ac:chgData name="IHADDADENE, Mohamed" userId="e01a991b-5a35-468b-af4c-bfe3aed91b77" providerId="ADAL" clId="{482B38D3-C914-4A34-B877-0B22FDA5E7EA}" dt="2022-02-25T16:05:18.004" v="4325" actId="1036"/>
          <ac:spMkLst>
            <pc:docMk/>
            <pc:sldMk cId="4130323097" sldId="2147229448"/>
            <ac:spMk id="81" creationId="{F1B1CC8E-D943-F143-94C0-8C7831236F65}"/>
          </ac:spMkLst>
        </pc:spChg>
        <pc:spChg chg="mod">
          <ac:chgData name="IHADDADENE, Mohamed" userId="e01a991b-5a35-468b-af4c-bfe3aed91b77" providerId="ADAL" clId="{482B38D3-C914-4A34-B877-0B22FDA5E7EA}" dt="2022-02-25T16:05:18.004" v="4325" actId="1036"/>
          <ac:spMkLst>
            <pc:docMk/>
            <pc:sldMk cId="4130323097" sldId="2147229448"/>
            <ac:spMk id="87" creationId="{A55EB7C0-7065-534E-A08A-0DAD449CAF66}"/>
          </ac:spMkLst>
        </pc:spChg>
        <pc:spChg chg="mod">
          <ac:chgData name="IHADDADENE, Mohamed" userId="e01a991b-5a35-468b-af4c-bfe3aed91b77" providerId="ADAL" clId="{482B38D3-C914-4A34-B877-0B22FDA5E7EA}" dt="2022-02-25T16:05:18.004" v="4325" actId="1036"/>
          <ac:spMkLst>
            <pc:docMk/>
            <pc:sldMk cId="4130323097" sldId="2147229448"/>
            <ac:spMk id="88" creationId="{40980480-8FAA-E04C-B45C-AD19FAEF5F3F}"/>
          </ac:spMkLst>
        </pc:spChg>
        <pc:spChg chg="mod">
          <ac:chgData name="IHADDADENE, Mohamed" userId="e01a991b-5a35-468b-af4c-bfe3aed91b77" providerId="ADAL" clId="{482B38D3-C914-4A34-B877-0B22FDA5E7EA}" dt="2022-02-25T15:47:01.757" v="3873" actId="552"/>
          <ac:spMkLst>
            <pc:docMk/>
            <pc:sldMk cId="4130323097" sldId="2147229448"/>
            <ac:spMk id="89" creationId="{42805411-67FC-1748-8DCB-F0C6A6E11B3E}"/>
          </ac:spMkLst>
        </pc:spChg>
        <pc:spChg chg="del">
          <ac:chgData name="IHADDADENE, Mohamed" userId="e01a991b-5a35-468b-af4c-bfe3aed91b77" providerId="ADAL" clId="{482B38D3-C914-4A34-B877-0B22FDA5E7EA}" dt="2022-02-25T15:01:56.138" v="3165" actId="478"/>
          <ac:spMkLst>
            <pc:docMk/>
            <pc:sldMk cId="4130323097" sldId="2147229448"/>
            <ac:spMk id="90" creationId="{9A1F1086-00DD-A345-9D6C-E66AB989D845}"/>
          </ac:spMkLst>
        </pc:spChg>
        <pc:spChg chg="mod">
          <ac:chgData name="IHADDADENE, Mohamed" userId="e01a991b-5a35-468b-af4c-bfe3aed91b77" providerId="ADAL" clId="{482B38D3-C914-4A34-B877-0B22FDA5E7EA}" dt="2022-02-25T16:04:02.725" v="4309" actId="20577"/>
          <ac:spMkLst>
            <pc:docMk/>
            <pc:sldMk cId="4130323097" sldId="2147229448"/>
            <ac:spMk id="983" creationId="{00000000-0000-0000-0000-000000000000}"/>
          </ac:spMkLst>
        </pc:spChg>
        <pc:grpChg chg="mod">
          <ac:chgData name="IHADDADENE, Mohamed" userId="e01a991b-5a35-468b-af4c-bfe3aed91b77" providerId="ADAL" clId="{482B38D3-C914-4A34-B877-0B22FDA5E7EA}" dt="2022-02-25T15:46:23.068" v="3828" actId="1035"/>
          <ac:grpSpMkLst>
            <pc:docMk/>
            <pc:sldMk cId="4130323097" sldId="2147229448"/>
            <ac:grpSpMk id="91" creationId="{0734DE03-D96E-7642-9C6E-23D317074289}"/>
          </ac:grpSpMkLst>
        </pc:grpChg>
        <pc:picChg chg="add mod">
          <ac:chgData name="IHADDADENE, Mohamed" userId="e01a991b-5a35-468b-af4c-bfe3aed91b77" providerId="ADAL" clId="{482B38D3-C914-4A34-B877-0B22FDA5E7EA}" dt="2022-02-25T17:34:57.030" v="4476" actId="1076"/>
          <ac:picMkLst>
            <pc:docMk/>
            <pc:sldMk cId="4130323097" sldId="2147229448"/>
            <ac:picMk id="5" creationId="{25171034-7A7E-40B9-B11E-BE529AA801C8}"/>
          </ac:picMkLst>
        </pc:picChg>
      </pc:sldChg>
      <pc:sldChg chg="addSp delSp modSp mod modNotesTx">
        <pc:chgData name="IHADDADENE, Mohamed" userId="e01a991b-5a35-468b-af4c-bfe3aed91b77" providerId="ADAL" clId="{482B38D3-C914-4A34-B877-0B22FDA5E7EA}" dt="2022-02-27T21:04:05.108" v="4753" actId="20577"/>
        <pc:sldMkLst>
          <pc:docMk/>
          <pc:sldMk cId="3045153165" sldId="2147229450"/>
        </pc:sldMkLst>
        <pc:spChg chg="add mod">
          <ac:chgData name="IHADDADENE, Mohamed" userId="e01a991b-5a35-468b-af4c-bfe3aed91b77" providerId="ADAL" clId="{482B38D3-C914-4A34-B877-0B22FDA5E7EA}" dt="2022-02-25T13:20:28.974" v="1316" actId="164"/>
          <ac:spMkLst>
            <pc:docMk/>
            <pc:sldMk cId="3045153165" sldId="2147229450"/>
            <ac:spMk id="2" creationId="{A9DAB9FF-A529-45C6-927E-9F5B795AD725}"/>
          </ac:spMkLst>
        </pc:spChg>
        <pc:spChg chg="mod">
          <ac:chgData name="IHADDADENE, Mohamed" userId="e01a991b-5a35-468b-af4c-bfe3aed91b77" providerId="ADAL" clId="{482B38D3-C914-4A34-B877-0B22FDA5E7EA}" dt="2022-02-25T13:30:54.584" v="1380" actId="12788"/>
          <ac:spMkLst>
            <pc:docMk/>
            <pc:sldMk cId="3045153165" sldId="2147229450"/>
            <ac:spMk id="11" creationId="{388B92BA-0FD7-6647-A715-81C01453FF05}"/>
          </ac:spMkLst>
        </pc:spChg>
        <pc:spChg chg="mod">
          <ac:chgData name="IHADDADENE, Mohamed" userId="e01a991b-5a35-468b-af4c-bfe3aed91b77" providerId="ADAL" clId="{482B38D3-C914-4A34-B877-0B22FDA5E7EA}" dt="2022-02-25T12:58:04.474" v="945" actId="20577"/>
          <ac:spMkLst>
            <pc:docMk/>
            <pc:sldMk cId="3045153165" sldId="2147229450"/>
            <ac:spMk id="12" creationId="{48D7A49D-AE9A-894C-B3E9-688E389C2E94}"/>
          </ac:spMkLst>
        </pc:spChg>
        <pc:spChg chg="add mod">
          <ac:chgData name="IHADDADENE, Mohamed" userId="e01a991b-5a35-468b-af4c-bfe3aed91b77" providerId="ADAL" clId="{482B38D3-C914-4A34-B877-0B22FDA5E7EA}" dt="2022-02-25T13:28:15.538" v="1372" actId="1037"/>
          <ac:spMkLst>
            <pc:docMk/>
            <pc:sldMk cId="3045153165" sldId="2147229450"/>
            <ac:spMk id="17" creationId="{E3121B42-93B3-497B-A9AC-6B31F79ACB93}"/>
          </ac:spMkLst>
        </pc:spChg>
        <pc:spChg chg="del">
          <ac:chgData name="IHADDADENE, Mohamed" userId="e01a991b-5a35-468b-af4c-bfe3aed91b77" providerId="ADAL" clId="{482B38D3-C914-4A34-B877-0B22FDA5E7EA}" dt="2022-02-25T13:29:47.037" v="1373" actId="478"/>
          <ac:spMkLst>
            <pc:docMk/>
            <pc:sldMk cId="3045153165" sldId="2147229450"/>
            <ac:spMk id="22" creationId="{7F67B21F-60CA-5C45-8367-6192746F96E2}"/>
          </ac:spMkLst>
        </pc:spChg>
        <pc:spChg chg="mod">
          <ac:chgData name="IHADDADENE, Mohamed" userId="e01a991b-5a35-468b-af4c-bfe3aed91b77" providerId="ADAL" clId="{482B38D3-C914-4A34-B877-0B22FDA5E7EA}" dt="2022-02-25T12:59:43.672" v="1002" actId="404"/>
          <ac:spMkLst>
            <pc:docMk/>
            <pc:sldMk cId="3045153165" sldId="2147229450"/>
            <ac:spMk id="36" creationId="{56D80E24-37B5-F640-9BEB-7C46B7CF2F66}"/>
          </ac:spMkLst>
        </pc:spChg>
        <pc:spChg chg="mod">
          <ac:chgData name="IHADDADENE, Mohamed" userId="e01a991b-5a35-468b-af4c-bfe3aed91b77" providerId="ADAL" clId="{482B38D3-C914-4A34-B877-0B22FDA5E7EA}" dt="2022-02-25T13:04:24.723" v="1130" actId="207"/>
          <ac:spMkLst>
            <pc:docMk/>
            <pc:sldMk cId="3045153165" sldId="2147229450"/>
            <ac:spMk id="39" creationId="{DD419131-7A30-4042-93C4-2830A4C15F1B}"/>
          </ac:spMkLst>
        </pc:spChg>
        <pc:spChg chg="mod">
          <ac:chgData name="IHADDADENE, Mohamed" userId="e01a991b-5a35-468b-af4c-bfe3aed91b77" providerId="ADAL" clId="{482B38D3-C914-4A34-B877-0B22FDA5E7EA}" dt="2022-02-25T13:13:18.865" v="1212" actId="21"/>
          <ac:spMkLst>
            <pc:docMk/>
            <pc:sldMk cId="3045153165" sldId="2147229450"/>
            <ac:spMk id="40" creationId="{F97EF8CB-1430-DA42-B270-6B2A5B72F0CB}"/>
          </ac:spMkLst>
        </pc:spChg>
        <pc:spChg chg="mod">
          <ac:chgData name="IHADDADENE, Mohamed" userId="e01a991b-5a35-468b-af4c-bfe3aed91b77" providerId="ADAL" clId="{482B38D3-C914-4A34-B877-0B22FDA5E7EA}" dt="2022-02-25T13:04:37.184" v="1136" actId="1036"/>
          <ac:spMkLst>
            <pc:docMk/>
            <pc:sldMk cId="3045153165" sldId="2147229450"/>
            <ac:spMk id="41" creationId="{163441D6-CDB0-4A92-912C-B59DC4A11BEF}"/>
          </ac:spMkLst>
        </pc:spChg>
        <pc:spChg chg="mod">
          <ac:chgData name="IHADDADENE, Mohamed" userId="e01a991b-5a35-468b-af4c-bfe3aed91b77" providerId="ADAL" clId="{482B38D3-C914-4A34-B877-0B22FDA5E7EA}" dt="2022-02-25T13:06:19.693" v="1139" actId="21"/>
          <ac:spMkLst>
            <pc:docMk/>
            <pc:sldMk cId="3045153165" sldId="2147229450"/>
            <ac:spMk id="43" creationId="{337BE290-02D4-4023-BD7B-21C4A7412D47}"/>
          </ac:spMkLst>
        </pc:spChg>
        <pc:spChg chg="mod">
          <ac:chgData name="IHADDADENE, Mohamed" userId="e01a991b-5a35-468b-af4c-bfe3aed91b77" providerId="ADAL" clId="{482B38D3-C914-4A34-B877-0B22FDA5E7EA}" dt="2022-02-25T13:31:02.049" v="1396" actId="1036"/>
          <ac:spMkLst>
            <pc:docMk/>
            <pc:sldMk cId="3045153165" sldId="2147229450"/>
            <ac:spMk id="52" creationId="{63A29FAE-B363-174A-B3BE-7EEF91B3230A}"/>
          </ac:spMkLst>
        </pc:spChg>
        <pc:spChg chg="mod">
          <ac:chgData name="IHADDADENE, Mohamed" userId="e01a991b-5a35-468b-af4c-bfe3aed91b77" providerId="ADAL" clId="{482B38D3-C914-4A34-B877-0B22FDA5E7EA}" dt="2022-02-25T13:01:51.815" v="1090"/>
          <ac:spMkLst>
            <pc:docMk/>
            <pc:sldMk cId="3045153165" sldId="2147229450"/>
            <ac:spMk id="54" creationId="{89B126CF-D992-4FB9-A280-BF16A01D4120}"/>
          </ac:spMkLst>
        </pc:spChg>
        <pc:spChg chg="mod">
          <ac:chgData name="IHADDADENE, Mohamed" userId="e01a991b-5a35-468b-af4c-bfe3aed91b77" providerId="ADAL" clId="{482B38D3-C914-4A34-B877-0B22FDA5E7EA}" dt="2022-02-25T13:11:39.724" v="1179" actId="1035"/>
          <ac:spMkLst>
            <pc:docMk/>
            <pc:sldMk cId="3045153165" sldId="2147229450"/>
            <ac:spMk id="55" creationId="{2CCE1C02-EC43-4F82-BEE9-9E96CABC0C1B}"/>
          </ac:spMkLst>
        </pc:spChg>
        <pc:spChg chg="mod">
          <ac:chgData name="IHADDADENE, Mohamed" userId="e01a991b-5a35-468b-af4c-bfe3aed91b77" providerId="ADAL" clId="{482B38D3-C914-4A34-B877-0B22FDA5E7EA}" dt="2022-02-25T13:11:51.034" v="1182" actId="1036"/>
          <ac:spMkLst>
            <pc:docMk/>
            <pc:sldMk cId="3045153165" sldId="2147229450"/>
            <ac:spMk id="56" creationId="{254FEE18-7D16-4656-A97B-22D29B7E96C1}"/>
          </ac:spMkLst>
        </pc:spChg>
        <pc:spChg chg="mod">
          <ac:chgData name="IHADDADENE, Mohamed" userId="e01a991b-5a35-468b-af4c-bfe3aed91b77" providerId="ADAL" clId="{482B38D3-C914-4A34-B877-0B22FDA5E7EA}" dt="2022-02-25T13:03:45.194" v="1114"/>
          <ac:spMkLst>
            <pc:docMk/>
            <pc:sldMk cId="3045153165" sldId="2147229450"/>
            <ac:spMk id="58" creationId="{637B66E9-D4AF-4D51-9CDB-D10EEE303980}"/>
          </ac:spMkLst>
        </pc:spChg>
        <pc:spChg chg="mod">
          <ac:chgData name="IHADDADENE, Mohamed" userId="e01a991b-5a35-468b-af4c-bfe3aed91b77" providerId="ADAL" clId="{482B38D3-C914-4A34-B877-0B22FDA5E7EA}" dt="2022-02-25T13:03:45.194" v="1114"/>
          <ac:spMkLst>
            <pc:docMk/>
            <pc:sldMk cId="3045153165" sldId="2147229450"/>
            <ac:spMk id="59" creationId="{D73C16AB-D6A9-48D8-84E8-E8C07055C342}"/>
          </ac:spMkLst>
        </pc:spChg>
        <pc:spChg chg="mod">
          <ac:chgData name="IHADDADENE, Mohamed" userId="e01a991b-5a35-468b-af4c-bfe3aed91b77" providerId="ADAL" clId="{482B38D3-C914-4A34-B877-0B22FDA5E7EA}" dt="2022-02-25T13:03:45.194" v="1114"/>
          <ac:spMkLst>
            <pc:docMk/>
            <pc:sldMk cId="3045153165" sldId="2147229450"/>
            <ac:spMk id="60" creationId="{B9FB397C-B669-4B0B-872E-47A3DDF5C104}"/>
          </ac:spMkLst>
        </pc:spChg>
        <pc:spChg chg="add mod">
          <ac:chgData name="IHADDADENE, Mohamed" userId="e01a991b-5a35-468b-af4c-bfe3aed91b77" providerId="ADAL" clId="{482B38D3-C914-4A34-B877-0B22FDA5E7EA}" dt="2022-02-25T13:30:54.584" v="1380" actId="12788"/>
          <ac:spMkLst>
            <pc:docMk/>
            <pc:sldMk cId="3045153165" sldId="2147229450"/>
            <ac:spMk id="61" creationId="{5C80FD7E-F309-4964-9002-DA2CCD8A843C}"/>
          </ac:spMkLst>
        </pc:spChg>
        <pc:spChg chg="mod">
          <ac:chgData name="IHADDADENE, Mohamed" userId="e01a991b-5a35-468b-af4c-bfe3aed91b77" providerId="ADAL" clId="{482B38D3-C914-4A34-B877-0B22FDA5E7EA}" dt="2022-02-25T13:07:12.266" v="1147" actId="207"/>
          <ac:spMkLst>
            <pc:docMk/>
            <pc:sldMk cId="3045153165" sldId="2147229450"/>
            <ac:spMk id="63" creationId="{C8C197A0-00BF-496B-ADFF-613A5A67406E}"/>
          </ac:spMkLst>
        </pc:spChg>
        <pc:spChg chg="mod">
          <ac:chgData name="IHADDADENE, Mohamed" userId="e01a991b-5a35-468b-af4c-bfe3aed91b77" providerId="ADAL" clId="{482B38D3-C914-4A34-B877-0B22FDA5E7EA}" dt="2022-02-25T13:06:47.561" v="1146" actId="207"/>
          <ac:spMkLst>
            <pc:docMk/>
            <pc:sldMk cId="3045153165" sldId="2147229450"/>
            <ac:spMk id="64" creationId="{0327C512-6D4E-4327-A81D-39F594EE0755}"/>
          </ac:spMkLst>
        </pc:spChg>
        <pc:spChg chg="mod">
          <ac:chgData name="IHADDADENE, Mohamed" userId="e01a991b-5a35-468b-af4c-bfe3aed91b77" providerId="ADAL" clId="{482B38D3-C914-4A34-B877-0B22FDA5E7EA}" dt="2022-02-25T13:13:46.356" v="1226" actId="21"/>
          <ac:spMkLst>
            <pc:docMk/>
            <pc:sldMk cId="3045153165" sldId="2147229450"/>
            <ac:spMk id="65" creationId="{ABEF4716-CBF0-4B83-BFBF-AFD5B96170AF}"/>
          </ac:spMkLst>
        </pc:spChg>
        <pc:spChg chg="mod">
          <ac:chgData name="IHADDADENE, Mohamed" userId="e01a991b-5a35-468b-af4c-bfe3aed91b77" providerId="ADAL" clId="{482B38D3-C914-4A34-B877-0B22FDA5E7EA}" dt="2022-02-25T13:13:10.541" v="1209"/>
          <ac:spMkLst>
            <pc:docMk/>
            <pc:sldMk cId="3045153165" sldId="2147229450"/>
            <ac:spMk id="68" creationId="{FBDF3BBF-14AB-4133-B2CF-31431371A8AA}"/>
          </ac:spMkLst>
        </pc:spChg>
        <pc:spChg chg="mod">
          <ac:chgData name="IHADDADENE, Mohamed" userId="e01a991b-5a35-468b-af4c-bfe3aed91b77" providerId="ADAL" clId="{482B38D3-C914-4A34-B877-0B22FDA5E7EA}" dt="2022-02-25T13:13:13.913" v="1211" actId="20577"/>
          <ac:spMkLst>
            <pc:docMk/>
            <pc:sldMk cId="3045153165" sldId="2147229450"/>
            <ac:spMk id="69" creationId="{3093C1F3-88FC-4D57-9351-C1A4C8428CBD}"/>
          </ac:spMkLst>
        </pc:spChg>
        <pc:spChg chg="mod">
          <ac:chgData name="IHADDADENE, Mohamed" userId="e01a991b-5a35-468b-af4c-bfe3aed91b77" providerId="ADAL" clId="{482B38D3-C914-4A34-B877-0B22FDA5E7EA}" dt="2022-02-25T13:13:21.481" v="1213"/>
          <ac:spMkLst>
            <pc:docMk/>
            <pc:sldMk cId="3045153165" sldId="2147229450"/>
            <ac:spMk id="70" creationId="{40C271AA-B599-4CE9-96F3-8D53E6E83EE2}"/>
          </ac:spMkLst>
        </pc:spChg>
        <pc:spChg chg="mod">
          <ac:chgData name="IHADDADENE, Mohamed" userId="e01a991b-5a35-468b-af4c-bfe3aed91b77" providerId="ADAL" clId="{482B38D3-C914-4A34-B877-0B22FDA5E7EA}" dt="2022-02-25T13:21:17.226" v="1323" actId="207"/>
          <ac:spMkLst>
            <pc:docMk/>
            <pc:sldMk cId="3045153165" sldId="2147229450"/>
            <ac:spMk id="72" creationId="{12149270-3C50-4245-83AF-2839BBC64CB0}"/>
          </ac:spMkLst>
        </pc:spChg>
        <pc:spChg chg="mod">
          <ac:chgData name="IHADDADENE, Mohamed" userId="e01a991b-5a35-468b-af4c-bfe3aed91b77" providerId="ADAL" clId="{482B38D3-C914-4A34-B877-0B22FDA5E7EA}" dt="2022-02-25T13:13:50.553" v="1229" actId="20577"/>
          <ac:spMkLst>
            <pc:docMk/>
            <pc:sldMk cId="3045153165" sldId="2147229450"/>
            <ac:spMk id="73" creationId="{AE293288-C76A-4AFD-8993-11A150C7F569}"/>
          </ac:spMkLst>
        </pc:spChg>
        <pc:spChg chg="mod">
          <ac:chgData name="IHADDADENE, Mohamed" userId="e01a991b-5a35-468b-af4c-bfe3aed91b77" providerId="ADAL" clId="{482B38D3-C914-4A34-B877-0B22FDA5E7EA}" dt="2022-02-25T13:13:48.399" v="1227"/>
          <ac:spMkLst>
            <pc:docMk/>
            <pc:sldMk cId="3045153165" sldId="2147229450"/>
            <ac:spMk id="74" creationId="{201CF25F-53E8-46F6-9C1C-458B213A3B22}"/>
          </ac:spMkLst>
        </pc:spChg>
        <pc:spChg chg="add mod">
          <ac:chgData name="IHADDADENE, Mohamed" userId="e01a991b-5a35-468b-af4c-bfe3aed91b77" providerId="ADAL" clId="{482B38D3-C914-4A34-B877-0B22FDA5E7EA}" dt="2022-02-25T13:26:20.784" v="1350" actId="207"/>
          <ac:spMkLst>
            <pc:docMk/>
            <pc:sldMk cId="3045153165" sldId="2147229450"/>
            <ac:spMk id="75" creationId="{94E6FDAF-CF44-4EB7-A709-163C9859DBAE}"/>
          </ac:spMkLst>
        </pc:spChg>
        <pc:spChg chg="mod">
          <ac:chgData name="IHADDADENE, Mohamed" userId="e01a991b-5a35-468b-af4c-bfe3aed91b77" providerId="ADAL" clId="{482B38D3-C914-4A34-B877-0B22FDA5E7EA}" dt="2022-02-25T13:20:34.711" v="1318"/>
          <ac:spMkLst>
            <pc:docMk/>
            <pc:sldMk cId="3045153165" sldId="2147229450"/>
            <ac:spMk id="79" creationId="{F0C4F5D2-6819-4B3B-B47A-ED9307F8B056}"/>
          </ac:spMkLst>
        </pc:spChg>
        <pc:spChg chg="mod">
          <ac:chgData name="IHADDADENE, Mohamed" userId="e01a991b-5a35-468b-af4c-bfe3aed91b77" providerId="ADAL" clId="{482B38D3-C914-4A34-B877-0B22FDA5E7EA}" dt="2022-02-25T13:20:51.394" v="1322" actId="1076"/>
          <ac:spMkLst>
            <pc:docMk/>
            <pc:sldMk cId="3045153165" sldId="2147229450"/>
            <ac:spMk id="82" creationId="{51A9D751-91AE-4507-A94B-8C680DF64381}"/>
          </ac:spMkLst>
        </pc:spChg>
        <pc:spChg chg="mod">
          <ac:chgData name="IHADDADENE, Mohamed" userId="e01a991b-5a35-468b-af4c-bfe3aed91b77" providerId="ADAL" clId="{482B38D3-C914-4A34-B877-0B22FDA5E7EA}" dt="2022-02-25T13:20:51.394" v="1322" actId="1076"/>
          <ac:spMkLst>
            <pc:docMk/>
            <pc:sldMk cId="3045153165" sldId="2147229450"/>
            <ac:spMk id="84" creationId="{32CB51F9-341A-4833-93D4-83A20CA66555}"/>
          </ac:spMkLst>
        </pc:spChg>
        <pc:spChg chg="mod">
          <ac:chgData name="IHADDADENE, Mohamed" userId="e01a991b-5a35-468b-af4c-bfe3aed91b77" providerId="ADAL" clId="{482B38D3-C914-4A34-B877-0B22FDA5E7EA}" dt="2022-02-25T13:00:23.003" v="1043" actId="20577"/>
          <ac:spMkLst>
            <pc:docMk/>
            <pc:sldMk cId="3045153165" sldId="2147229450"/>
            <ac:spMk id="983" creationId="{00000000-0000-0000-0000-000000000000}"/>
          </ac:spMkLst>
        </pc:spChg>
        <pc:grpChg chg="del mod">
          <ac:chgData name="IHADDADENE, Mohamed" userId="e01a991b-5a35-468b-af4c-bfe3aed91b77" providerId="ADAL" clId="{482B38D3-C914-4A34-B877-0B22FDA5E7EA}" dt="2022-02-25T13:13:24.938" v="1214" actId="478"/>
          <ac:grpSpMkLst>
            <pc:docMk/>
            <pc:sldMk cId="3045153165" sldId="2147229450"/>
            <ac:grpSpMk id="3" creationId="{4B6FAEF4-4349-AD49-821D-3196566896BE}"/>
          </ac:grpSpMkLst>
        </pc:grpChg>
        <pc:grpChg chg="del mod">
          <ac:chgData name="IHADDADENE, Mohamed" userId="e01a991b-5a35-468b-af4c-bfe3aed91b77" providerId="ADAL" clId="{482B38D3-C914-4A34-B877-0B22FDA5E7EA}" dt="2022-02-25T13:02:18.839" v="1095" actId="478"/>
          <ac:grpSpMkLst>
            <pc:docMk/>
            <pc:sldMk cId="3045153165" sldId="2147229450"/>
            <ac:grpSpMk id="4" creationId="{7A95594B-05E2-8D4B-B212-FEA21BE081BB}"/>
          </ac:grpSpMkLst>
        </pc:grpChg>
        <pc:grpChg chg="add mod">
          <ac:chgData name="IHADDADENE, Mohamed" userId="e01a991b-5a35-468b-af4c-bfe3aed91b77" providerId="ADAL" clId="{482B38D3-C914-4A34-B877-0B22FDA5E7EA}" dt="2022-02-25T13:20:42.482" v="1320" actId="164"/>
          <ac:grpSpMkLst>
            <pc:docMk/>
            <pc:sldMk cId="3045153165" sldId="2147229450"/>
            <ac:grpSpMk id="8" creationId="{7F15F86C-F245-4E8D-A1BF-5D20B577B09C}"/>
          </ac:grpSpMkLst>
        </pc:grpChg>
        <pc:grpChg chg="add mod">
          <ac:chgData name="IHADDADENE, Mohamed" userId="e01a991b-5a35-468b-af4c-bfe3aed91b77" providerId="ADAL" clId="{482B38D3-C914-4A34-B877-0B22FDA5E7EA}" dt="2022-02-25T13:20:42.482" v="1320" actId="164"/>
          <ac:grpSpMkLst>
            <pc:docMk/>
            <pc:sldMk cId="3045153165" sldId="2147229450"/>
            <ac:grpSpMk id="9" creationId="{945C3EA6-D5F1-462F-BDCE-3B776BC9EF38}"/>
          </ac:grpSpMkLst>
        </pc:grpChg>
        <pc:grpChg chg="mod">
          <ac:chgData name="IHADDADENE, Mohamed" userId="e01a991b-5a35-468b-af4c-bfe3aed91b77" providerId="ADAL" clId="{482B38D3-C914-4A34-B877-0B22FDA5E7EA}" dt="2022-02-25T13:29:59.011" v="1374" actId="1076"/>
          <ac:grpSpMkLst>
            <pc:docMk/>
            <pc:sldMk cId="3045153165" sldId="2147229450"/>
            <ac:grpSpMk id="10" creationId="{DDE1487A-85D9-324D-8C03-8F3EA8F0F330}"/>
          </ac:grpSpMkLst>
        </pc:grpChg>
        <pc:grpChg chg="mod">
          <ac:chgData name="IHADDADENE, Mohamed" userId="e01a991b-5a35-468b-af4c-bfe3aed91b77" providerId="ADAL" clId="{482B38D3-C914-4A34-B877-0B22FDA5E7EA}" dt="2022-02-25T13:02:49.804" v="1101" actId="1076"/>
          <ac:grpSpMkLst>
            <pc:docMk/>
            <pc:sldMk cId="3045153165" sldId="2147229450"/>
            <ac:grpSpMk id="23" creationId="{BCFEA149-132F-CB4F-838C-80540002159C}"/>
          </ac:grpSpMkLst>
        </pc:grpChg>
        <pc:grpChg chg="add del mod">
          <ac:chgData name="IHADDADENE, Mohamed" userId="e01a991b-5a35-468b-af4c-bfe3aed91b77" providerId="ADAL" clId="{482B38D3-C914-4A34-B877-0B22FDA5E7EA}" dt="2022-02-25T13:06:24.878" v="1141" actId="478"/>
          <ac:grpSpMkLst>
            <pc:docMk/>
            <pc:sldMk cId="3045153165" sldId="2147229450"/>
            <ac:grpSpMk id="37" creationId="{38639E54-316A-4355-A804-FE5A39005620}"/>
          </ac:grpSpMkLst>
        </pc:grpChg>
        <pc:grpChg chg="mod">
          <ac:chgData name="IHADDADENE, Mohamed" userId="e01a991b-5a35-468b-af4c-bfe3aed91b77" providerId="ADAL" clId="{482B38D3-C914-4A34-B877-0B22FDA5E7EA}" dt="2022-02-25T13:30:38.935" v="1379" actId="12788"/>
          <ac:grpSpMkLst>
            <pc:docMk/>
            <pc:sldMk cId="3045153165" sldId="2147229450"/>
            <ac:grpSpMk id="44" creationId="{305C7769-87B8-314C-9C16-83A4E4E42A4A}"/>
          </ac:grpSpMkLst>
        </pc:grpChg>
        <pc:grpChg chg="mod">
          <ac:chgData name="IHADDADENE, Mohamed" userId="e01a991b-5a35-468b-af4c-bfe3aed91b77" providerId="ADAL" clId="{482B38D3-C914-4A34-B877-0B22FDA5E7EA}" dt="2022-02-25T13:30:54.584" v="1380" actId="12788"/>
          <ac:grpSpMkLst>
            <pc:docMk/>
            <pc:sldMk cId="3045153165" sldId="2147229450"/>
            <ac:grpSpMk id="48" creationId="{F9359B72-CC60-6547-8E4F-16C34B3F93AE}"/>
          </ac:grpSpMkLst>
        </pc:grpChg>
        <pc:grpChg chg="add mod">
          <ac:chgData name="IHADDADENE, Mohamed" userId="e01a991b-5a35-468b-af4c-bfe3aed91b77" providerId="ADAL" clId="{482B38D3-C914-4A34-B877-0B22FDA5E7EA}" dt="2022-02-25T13:14:32.113" v="1233" actId="1076"/>
          <ac:grpSpMkLst>
            <pc:docMk/>
            <pc:sldMk cId="3045153165" sldId="2147229450"/>
            <ac:grpSpMk id="53" creationId="{4153CBA7-859C-49CD-92AD-04A00B78DCA6}"/>
          </ac:grpSpMkLst>
        </pc:grpChg>
        <pc:grpChg chg="add mod">
          <ac:chgData name="IHADDADENE, Mohamed" userId="e01a991b-5a35-468b-af4c-bfe3aed91b77" providerId="ADAL" clId="{482B38D3-C914-4A34-B877-0B22FDA5E7EA}" dt="2022-02-25T13:30:54.584" v="1380" actId="12788"/>
          <ac:grpSpMkLst>
            <pc:docMk/>
            <pc:sldMk cId="3045153165" sldId="2147229450"/>
            <ac:grpSpMk id="57" creationId="{75377C67-722E-4559-A5B0-26E7C7064411}"/>
          </ac:grpSpMkLst>
        </pc:grpChg>
        <pc:grpChg chg="add del mod">
          <ac:chgData name="IHADDADENE, Mohamed" userId="e01a991b-5a35-468b-af4c-bfe3aed91b77" providerId="ADAL" clId="{482B38D3-C914-4A34-B877-0B22FDA5E7EA}" dt="2022-02-25T13:13:53.399" v="1230" actId="478"/>
          <ac:grpSpMkLst>
            <pc:docMk/>
            <pc:sldMk cId="3045153165" sldId="2147229450"/>
            <ac:grpSpMk id="62" creationId="{EAC0C6D1-7AA5-4FCF-A14E-D5346EA364FB}"/>
          </ac:grpSpMkLst>
        </pc:grpChg>
        <pc:grpChg chg="add mod">
          <ac:chgData name="IHADDADENE, Mohamed" userId="e01a991b-5a35-468b-af4c-bfe3aed91b77" providerId="ADAL" clId="{482B38D3-C914-4A34-B877-0B22FDA5E7EA}" dt="2022-02-25T13:13:31.768" v="1215" actId="1076"/>
          <ac:grpSpMkLst>
            <pc:docMk/>
            <pc:sldMk cId="3045153165" sldId="2147229450"/>
            <ac:grpSpMk id="67" creationId="{BF3F8433-9E29-4CAC-840B-C9A506B860A0}"/>
          </ac:grpSpMkLst>
        </pc:grpChg>
        <pc:grpChg chg="add mod">
          <ac:chgData name="IHADDADENE, Mohamed" userId="e01a991b-5a35-468b-af4c-bfe3aed91b77" providerId="ADAL" clId="{482B38D3-C914-4A34-B877-0B22FDA5E7EA}" dt="2022-02-25T13:14:03.673" v="1231" actId="1076"/>
          <ac:grpSpMkLst>
            <pc:docMk/>
            <pc:sldMk cId="3045153165" sldId="2147229450"/>
            <ac:grpSpMk id="71" creationId="{06C1E8F6-0F00-4546-BBBD-0E860667FF21}"/>
          </ac:grpSpMkLst>
        </pc:grpChg>
        <pc:grpChg chg="add del mod">
          <ac:chgData name="IHADDADENE, Mohamed" userId="e01a991b-5a35-468b-af4c-bfe3aed91b77" providerId="ADAL" clId="{482B38D3-C914-4A34-B877-0B22FDA5E7EA}" dt="2022-02-25T13:20:36.560" v="1319"/>
          <ac:grpSpMkLst>
            <pc:docMk/>
            <pc:sldMk cId="3045153165" sldId="2147229450"/>
            <ac:grpSpMk id="77" creationId="{9B4BCEE5-9FE3-4A17-86FD-3CB90896BF83}"/>
          </ac:grpSpMkLst>
        </pc:grpChg>
        <pc:grpChg chg="add del mod">
          <ac:chgData name="IHADDADENE, Mohamed" userId="e01a991b-5a35-468b-af4c-bfe3aed91b77" providerId="ADAL" clId="{482B38D3-C914-4A34-B877-0B22FDA5E7EA}" dt="2022-02-25T13:24:02.572" v="1328" actId="478"/>
          <ac:grpSpMkLst>
            <pc:docMk/>
            <pc:sldMk cId="3045153165" sldId="2147229450"/>
            <ac:grpSpMk id="80" creationId="{96AF7E4E-609E-47C8-80E3-B54DE959BB4D}"/>
          </ac:grpSpMkLst>
        </pc:grpChg>
        <pc:grpChg chg="mod">
          <ac:chgData name="IHADDADENE, Mohamed" userId="e01a991b-5a35-468b-af4c-bfe3aed91b77" providerId="ADAL" clId="{482B38D3-C914-4A34-B877-0B22FDA5E7EA}" dt="2022-02-25T13:20:51.394" v="1322" actId="1076"/>
          <ac:grpSpMkLst>
            <pc:docMk/>
            <pc:sldMk cId="3045153165" sldId="2147229450"/>
            <ac:grpSpMk id="81" creationId="{13D07CF6-CE78-47C3-BBEC-EC98438B25AC}"/>
          </ac:grpSpMkLst>
        </pc:grpChg>
        <pc:picChg chg="add mod">
          <ac:chgData name="IHADDADENE, Mohamed" userId="e01a991b-5a35-468b-af4c-bfe3aed91b77" providerId="ADAL" clId="{482B38D3-C914-4A34-B877-0B22FDA5E7EA}" dt="2022-02-25T13:24:19.771" v="1332" actId="1076"/>
          <ac:picMkLst>
            <pc:docMk/>
            <pc:sldMk cId="3045153165" sldId="2147229450"/>
            <ac:picMk id="14" creationId="{BA6A9816-C73B-4AB0-810A-74FAA29B2849}"/>
          </ac:picMkLst>
        </pc:picChg>
        <pc:picChg chg="add mod">
          <ac:chgData name="IHADDADENE, Mohamed" userId="e01a991b-5a35-468b-af4c-bfe3aed91b77" providerId="ADAL" clId="{482B38D3-C914-4A34-B877-0B22FDA5E7EA}" dt="2022-02-25T13:25:10.666" v="1335" actId="1076"/>
          <ac:picMkLst>
            <pc:docMk/>
            <pc:sldMk cId="3045153165" sldId="2147229450"/>
            <ac:picMk id="16" creationId="{9CF34413-E191-4112-8F02-B347279F23E8}"/>
          </ac:picMkLst>
        </pc:picChg>
        <pc:picChg chg="add del mod">
          <ac:chgData name="IHADDADENE, Mohamed" userId="e01a991b-5a35-468b-af4c-bfe3aed91b77" providerId="ADAL" clId="{482B38D3-C914-4A34-B877-0B22FDA5E7EA}" dt="2022-02-25T13:20:17.522" v="1314" actId="478"/>
          <ac:picMkLst>
            <pc:docMk/>
            <pc:sldMk cId="3045153165" sldId="2147229450"/>
            <ac:picMk id="66" creationId="{584646F0-90B0-4CA0-994F-8E6FE95D8E9C}"/>
          </ac:picMkLst>
        </pc:picChg>
        <pc:picChg chg="add del mod">
          <ac:chgData name="IHADDADENE, Mohamed" userId="e01a991b-5a35-468b-af4c-bfe3aed91b77" providerId="ADAL" clId="{482B38D3-C914-4A34-B877-0B22FDA5E7EA}" dt="2022-02-25T13:20:30.750" v="1317" actId="478"/>
          <ac:picMkLst>
            <pc:docMk/>
            <pc:sldMk cId="3045153165" sldId="2147229450"/>
            <ac:picMk id="76" creationId="{111CDF04-98B2-4658-8794-3521982B26B7}"/>
          </ac:picMkLst>
        </pc:picChg>
        <pc:picChg chg="mod">
          <ac:chgData name="IHADDADENE, Mohamed" userId="e01a991b-5a35-468b-af4c-bfe3aed91b77" providerId="ADAL" clId="{482B38D3-C914-4A34-B877-0B22FDA5E7EA}" dt="2022-02-25T13:20:34.711" v="1318"/>
          <ac:picMkLst>
            <pc:docMk/>
            <pc:sldMk cId="3045153165" sldId="2147229450"/>
            <ac:picMk id="78" creationId="{E9414E57-20EA-4DE5-9EA0-019D512F6907}"/>
          </ac:picMkLst>
        </pc:picChg>
        <pc:picChg chg="mod">
          <ac:chgData name="IHADDADENE, Mohamed" userId="e01a991b-5a35-468b-af4c-bfe3aed91b77" providerId="ADAL" clId="{482B38D3-C914-4A34-B877-0B22FDA5E7EA}" dt="2022-02-25T13:20:51.394" v="1322" actId="1076"/>
          <ac:picMkLst>
            <pc:docMk/>
            <pc:sldMk cId="3045153165" sldId="2147229450"/>
            <ac:picMk id="83" creationId="{7FEED136-47FC-4A22-828B-A8CE43870539}"/>
          </ac:picMkLst>
        </pc:picChg>
        <pc:picChg chg="mod">
          <ac:chgData name="IHADDADENE, Mohamed" userId="e01a991b-5a35-468b-af4c-bfe3aed91b77" providerId="ADAL" clId="{482B38D3-C914-4A34-B877-0B22FDA5E7EA}" dt="2022-02-25T13:20:28.974" v="1316" actId="164"/>
          <ac:picMkLst>
            <pc:docMk/>
            <pc:sldMk cId="3045153165" sldId="2147229450"/>
            <ac:picMk id="74754" creationId="{68FC3605-4656-AF48-AAB7-77AD255E8096}"/>
          </ac:picMkLst>
        </pc:picChg>
      </pc:sldChg>
      <pc:sldChg chg="del">
        <pc:chgData name="IHADDADENE, Mohamed" userId="e01a991b-5a35-468b-af4c-bfe3aed91b77" providerId="ADAL" clId="{482B38D3-C914-4A34-B877-0B22FDA5E7EA}" dt="2022-02-25T12:51:48.320" v="903" actId="47"/>
        <pc:sldMkLst>
          <pc:docMk/>
          <pc:sldMk cId="2106162999" sldId="2147229455"/>
        </pc:sldMkLst>
      </pc:sldChg>
      <pc:sldChg chg="del">
        <pc:chgData name="IHADDADENE, Mohamed" userId="e01a991b-5a35-468b-af4c-bfe3aed91b77" providerId="ADAL" clId="{482B38D3-C914-4A34-B877-0B22FDA5E7EA}" dt="2022-02-25T13:35:08.230" v="1513" actId="47"/>
        <pc:sldMkLst>
          <pc:docMk/>
          <pc:sldMk cId="2422706775" sldId="2147229456"/>
        </pc:sldMkLst>
      </pc:sldChg>
      <pc:sldChg chg="addSp delSp modSp mod modNotesTx">
        <pc:chgData name="IHADDADENE, Mohamed" userId="e01a991b-5a35-468b-af4c-bfe3aed91b77" providerId="ADAL" clId="{482B38D3-C914-4A34-B877-0B22FDA5E7EA}" dt="2022-02-25T18:10:17.239" v="4654" actId="20577"/>
        <pc:sldMkLst>
          <pc:docMk/>
          <pc:sldMk cId="349757633" sldId="2147229457"/>
        </pc:sldMkLst>
        <pc:spChg chg="add mod">
          <ac:chgData name="IHADDADENE, Mohamed" userId="e01a991b-5a35-468b-af4c-bfe3aed91b77" providerId="ADAL" clId="{482B38D3-C914-4A34-B877-0B22FDA5E7EA}" dt="2022-02-25T12:28:04.958" v="400" actId="465"/>
          <ac:spMkLst>
            <pc:docMk/>
            <pc:sldMk cId="349757633" sldId="2147229457"/>
            <ac:spMk id="14" creationId="{89169243-B801-486C-B35B-7112F2009210}"/>
          </ac:spMkLst>
        </pc:spChg>
        <pc:spChg chg="add mod">
          <ac:chgData name="IHADDADENE, Mohamed" userId="e01a991b-5a35-468b-af4c-bfe3aed91b77" providerId="ADAL" clId="{482B38D3-C914-4A34-B877-0B22FDA5E7EA}" dt="2022-02-25T12:28:04.958" v="400" actId="465"/>
          <ac:spMkLst>
            <pc:docMk/>
            <pc:sldMk cId="349757633" sldId="2147229457"/>
            <ac:spMk id="17" creationId="{7634CE8C-E132-4718-B6B4-9D4C598FB9EC}"/>
          </ac:spMkLst>
        </pc:spChg>
        <pc:spChg chg="add mod">
          <ac:chgData name="IHADDADENE, Mohamed" userId="e01a991b-5a35-468b-af4c-bfe3aed91b77" providerId="ADAL" clId="{482B38D3-C914-4A34-B877-0B22FDA5E7EA}" dt="2022-02-25T12:28:04.958" v="400" actId="465"/>
          <ac:spMkLst>
            <pc:docMk/>
            <pc:sldMk cId="349757633" sldId="2147229457"/>
            <ac:spMk id="18" creationId="{2977EDE8-4E2C-4EF8-BF60-11F9BAA8FF21}"/>
          </ac:spMkLst>
        </pc:spChg>
        <pc:spChg chg="add mod">
          <ac:chgData name="IHADDADENE, Mohamed" userId="e01a991b-5a35-468b-af4c-bfe3aed91b77" providerId="ADAL" clId="{482B38D3-C914-4A34-B877-0B22FDA5E7EA}" dt="2022-02-25T12:28:04.958" v="400" actId="465"/>
          <ac:spMkLst>
            <pc:docMk/>
            <pc:sldMk cId="349757633" sldId="2147229457"/>
            <ac:spMk id="19" creationId="{26830912-48E7-410D-B735-D773986757A9}"/>
          </ac:spMkLst>
        </pc:spChg>
        <pc:spChg chg="add mod">
          <ac:chgData name="IHADDADENE, Mohamed" userId="e01a991b-5a35-468b-af4c-bfe3aed91b77" providerId="ADAL" clId="{482B38D3-C914-4A34-B877-0B22FDA5E7EA}" dt="2022-02-25T12:28:04.958" v="400" actId="465"/>
          <ac:spMkLst>
            <pc:docMk/>
            <pc:sldMk cId="349757633" sldId="2147229457"/>
            <ac:spMk id="20" creationId="{847AB6F8-8CC8-446D-8E17-C29A67716588}"/>
          </ac:spMkLst>
        </pc:spChg>
        <pc:spChg chg="del">
          <ac:chgData name="IHADDADENE, Mohamed" userId="e01a991b-5a35-468b-af4c-bfe3aed91b77" providerId="ADAL" clId="{482B38D3-C914-4A34-B877-0B22FDA5E7EA}" dt="2022-02-25T15:02:02.997" v="3167" actId="478"/>
          <ac:spMkLst>
            <pc:docMk/>
            <pc:sldMk cId="349757633" sldId="2147229457"/>
            <ac:spMk id="90" creationId="{9A1F1086-00DD-A345-9D6C-E66AB989D845}"/>
          </ac:spMkLst>
        </pc:spChg>
        <pc:spChg chg="mod">
          <ac:chgData name="IHADDADENE, Mohamed" userId="e01a991b-5a35-468b-af4c-bfe3aed91b77" providerId="ADAL" clId="{482B38D3-C914-4A34-B877-0B22FDA5E7EA}" dt="2022-02-25T12:07:44.897" v="62" actId="20577"/>
          <ac:spMkLst>
            <pc:docMk/>
            <pc:sldMk cId="349757633" sldId="2147229457"/>
            <ac:spMk id="983" creationId="{00000000-0000-0000-0000-000000000000}"/>
          </ac:spMkLst>
        </pc:spChg>
        <pc:picChg chg="add del mod">
          <ac:chgData name="IHADDADENE, Mohamed" userId="e01a991b-5a35-468b-af4c-bfe3aed91b77" providerId="ADAL" clId="{482B38D3-C914-4A34-B877-0B22FDA5E7EA}" dt="2022-02-25T12:12:57.562" v="82" actId="478"/>
          <ac:picMkLst>
            <pc:docMk/>
            <pc:sldMk cId="349757633" sldId="2147229457"/>
            <ac:picMk id="3" creationId="{142872BF-B2DD-4F68-91B6-D01DCCD151B8}"/>
          </ac:picMkLst>
        </pc:picChg>
        <pc:picChg chg="add mod">
          <ac:chgData name="IHADDADENE, Mohamed" userId="e01a991b-5a35-468b-af4c-bfe3aed91b77" providerId="ADAL" clId="{482B38D3-C914-4A34-B877-0B22FDA5E7EA}" dt="2022-02-25T12:30:30.912" v="455" actId="1037"/>
          <ac:picMkLst>
            <pc:docMk/>
            <pc:sldMk cId="349757633" sldId="2147229457"/>
            <ac:picMk id="5" creationId="{20254E1D-4532-46A8-BB48-0D80257E4574}"/>
          </ac:picMkLst>
        </pc:picChg>
        <pc:picChg chg="add mod">
          <ac:chgData name="IHADDADENE, Mohamed" userId="e01a991b-5a35-468b-af4c-bfe3aed91b77" providerId="ADAL" clId="{482B38D3-C914-4A34-B877-0B22FDA5E7EA}" dt="2022-02-25T12:30:24.259" v="447" actId="1037"/>
          <ac:picMkLst>
            <pc:docMk/>
            <pc:sldMk cId="349757633" sldId="2147229457"/>
            <ac:picMk id="7" creationId="{3565CD13-ED57-47CF-A115-1A8A76D91C4C}"/>
          </ac:picMkLst>
        </pc:picChg>
        <pc:picChg chg="add mod">
          <ac:chgData name="IHADDADENE, Mohamed" userId="e01a991b-5a35-468b-af4c-bfe3aed91b77" providerId="ADAL" clId="{482B38D3-C914-4A34-B877-0B22FDA5E7EA}" dt="2022-02-25T12:30:15.585" v="437" actId="1038"/>
          <ac:picMkLst>
            <pc:docMk/>
            <pc:sldMk cId="349757633" sldId="2147229457"/>
            <ac:picMk id="9" creationId="{33D94BCE-2F64-46D6-A7E8-0D613F11E097}"/>
          </ac:picMkLst>
        </pc:picChg>
        <pc:picChg chg="add mod">
          <ac:chgData name="IHADDADENE, Mohamed" userId="e01a991b-5a35-468b-af4c-bfe3aed91b77" providerId="ADAL" clId="{482B38D3-C914-4A34-B877-0B22FDA5E7EA}" dt="2022-02-25T12:30:10.416" v="423" actId="1037"/>
          <ac:picMkLst>
            <pc:docMk/>
            <pc:sldMk cId="349757633" sldId="2147229457"/>
            <ac:picMk id="11" creationId="{0007E218-7ECD-43B1-82E1-088DA2E8DA36}"/>
          </ac:picMkLst>
        </pc:picChg>
        <pc:picChg chg="add mod">
          <ac:chgData name="IHADDADENE, Mohamed" userId="e01a991b-5a35-468b-af4c-bfe3aed91b77" providerId="ADAL" clId="{482B38D3-C914-4A34-B877-0B22FDA5E7EA}" dt="2022-02-25T12:29:59.956" v="410" actId="408"/>
          <ac:picMkLst>
            <pc:docMk/>
            <pc:sldMk cId="349757633" sldId="2147229457"/>
            <ac:picMk id="13" creationId="{91CCADC5-2D88-41EC-A1F2-03AE4BF6BB73}"/>
          </ac:picMkLst>
        </pc:picChg>
      </pc:sldChg>
      <pc:sldChg chg="addSp delSp modSp del mod modNotesTx">
        <pc:chgData name="IHADDADENE, Mohamed" userId="e01a991b-5a35-468b-af4c-bfe3aed91b77" providerId="ADAL" clId="{482B38D3-C914-4A34-B877-0B22FDA5E7EA}" dt="2022-02-27T21:04:14.647" v="4755" actId="47"/>
        <pc:sldMkLst>
          <pc:docMk/>
          <pc:sldMk cId="136042639" sldId="2147229458"/>
        </pc:sldMkLst>
        <pc:spChg chg="add mod">
          <ac:chgData name="IHADDADENE, Mohamed" userId="e01a991b-5a35-468b-af4c-bfe3aed91b77" providerId="ADAL" clId="{482B38D3-C914-4A34-B877-0B22FDA5E7EA}" dt="2022-02-25T18:11:02.950" v="4660" actId="20577"/>
          <ac:spMkLst>
            <pc:docMk/>
            <pc:sldMk cId="136042639" sldId="2147229458"/>
            <ac:spMk id="2" creationId="{67641D60-9C40-44A4-B90F-D7A53AE4878A}"/>
          </ac:spMkLst>
        </pc:spChg>
        <pc:spChg chg="del">
          <ac:chgData name="IHADDADENE, Mohamed" userId="e01a991b-5a35-468b-af4c-bfe3aed91b77" providerId="ADAL" clId="{482B38D3-C914-4A34-B877-0B22FDA5E7EA}" dt="2022-02-25T15:02:00.232" v="3166" actId="478"/>
          <ac:spMkLst>
            <pc:docMk/>
            <pc:sldMk cId="136042639" sldId="2147229458"/>
            <ac:spMk id="90" creationId="{9A1F1086-00DD-A345-9D6C-E66AB989D845}"/>
          </ac:spMkLst>
        </pc:spChg>
      </pc:sldChg>
      <pc:sldChg chg="addSp delSp modSp mod modNotesTx">
        <pc:chgData name="IHADDADENE, Mohamed" userId="e01a991b-5a35-468b-af4c-bfe3aed91b77" providerId="ADAL" clId="{482B38D3-C914-4A34-B877-0B22FDA5E7EA}" dt="2022-02-28T00:02:36.292" v="7728" actId="207"/>
        <pc:sldMkLst>
          <pc:docMk/>
          <pc:sldMk cId="3164071390" sldId="2147229459"/>
        </pc:sldMkLst>
        <pc:spChg chg="add mod">
          <ac:chgData name="IHADDADENE, Mohamed" userId="e01a991b-5a35-468b-af4c-bfe3aed91b77" providerId="ADAL" clId="{482B38D3-C914-4A34-B877-0B22FDA5E7EA}" dt="2022-02-27T23:58:28.591" v="7561" actId="113"/>
          <ac:spMkLst>
            <pc:docMk/>
            <pc:sldMk cId="3164071390" sldId="2147229459"/>
            <ac:spMk id="2" creationId="{01FF315D-EEB4-45A8-A57C-AD88512A1D44}"/>
          </ac:spMkLst>
        </pc:spChg>
        <pc:spChg chg="add del mod">
          <ac:chgData name="IHADDADENE, Mohamed" userId="e01a991b-5a35-468b-af4c-bfe3aed91b77" providerId="ADAL" clId="{482B38D3-C914-4A34-B877-0B22FDA5E7EA}" dt="2022-02-27T23:40:04.399" v="7133" actId="478"/>
          <ac:spMkLst>
            <pc:docMk/>
            <pc:sldMk cId="3164071390" sldId="2147229459"/>
            <ac:spMk id="2" creationId="{881603D2-566D-41A6-96F1-8A7F76DFD149}"/>
          </ac:spMkLst>
        </pc:spChg>
        <pc:spChg chg="add del mod">
          <ac:chgData name="IHADDADENE, Mohamed" userId="e01a991b-5a35-468b-af4c-bfe3aed91b77" providerId="ADAL" clId="{482B38D3-C914-4A34-B877-0B22FDA5E7EA}" dt="2022-02-27T23:52:58.308" v="7375" actId="1035"/>
          <ac:spMkLst>
            <pc:docMk/>
            <pc:sldMk cId="3164071390" sldId="2147229459"/>
            <ac:spMk id="5" creationId="{E032AA27-5AA6-423F-ADED-6250B6738FD4}"/>
          </ac:spMkLst>
        </pc:spChg>
        <pc:spChg chg="add mod">
          <ac:chgData name="IHADDADENE, Mohamed" userId="e01a991b-5a35-468b-af4c-bfe3aed91b77" providerId="ADAL" clId="{482B38D3-C914-4A34-B877-0B22FDA5E7EA}" dt="2022-02-27T23:58:32.719" v="7562" actId="207"/>
          <ac:spMkLst>
            <pc:docMk/>
            <pc:sldMk cId="3164071390" sldId="2147229459"/>
            <ac:spMk id="6" creationId="{6B93FBEC-D7A0-47B8-984A-01E96D55451F}"/>
          </ac:spMkLst>
        </pc:spChg>
        <pc:spChg chg="add del mod">
          <ac:chgData name="IHADDADENE, Mohamed" userId="e01a991b-5a35-468b-af4c-bfe3aed91b77" providerId="ADAL" clId="{482B38D3-C914-4A34-B877-0B22FDA5E7EA}" dt="2022-02-27T23:47:42.969" v="7251" actId="11529"/>
          <ac:spMkLst>
            <pc:docMk/>
            <pc:sldMk cId="3164071390" sldId="2147229459"/>
            <ac:spMk id="7" creationId="{AC0467B8-E212-409B-96B0-90E0DA491CDA}"/>
          </ac:spMkLst>
        </pc:spChg>
        <pc:spChg chg="add del mod">
          <ac:chgData name="IHADDADENE, Mohamed" userId="e01a991b-5a35-468b-af4c-bfe3aed91b77" providerId="ADAL" clId="{482B38D3-C914-4A34-B877-0B22FDA5E7EA}" dt="2022-02-27T23:47:42.278" v="7249"/>
          <ac:spMkLst>
            <pc:docMk/>
            <pc:sldMk cId="3164071390" sldId="2147229459"/>
            <ac:spMk id="9" creationId="{E6CB927B-4D15-4756-8045-CBA73822AD1F}"/>
          </ac:spMkLst>
        </pc:spChg>
        <pc:spChg chg="add mod">
          <ac:chgData name="IHADDADENE, Mohamed" userId="e01a991b-5a35-468b-af4c-bfe3aed91b77" providerId="ADAL" clId="{482B38D3-C914-4A34-B877-0B22FDA5E7EA}" dt="2022-02-27T23:52:58.308" v="7375" actId="1035"/>
          <ac:spMkLst>
            <pc:docMk/>
            <pc:sldMk cId="3164071390" sldId="2147229459"/>
            <ac:spMk id="10" creationId="{1759030A-59FA-4E7F-AF17-5C67D0091EBD}"/>
          </ac:spMkLst>
        </pc:spChg>
        <pc:spChg chg="add mod">
          <ac:chgData name="IHADDADENE, Mohamed" userId="e01a991b-5a35-468b-af4c-bfe3aed91b77" providerId="ADAL" clId="{482B38D3-C914-4A34-B877-0B22FDA5E7EA}" dt="2022-02-27T23:56:29.794" v="7531" actId="14100"/>
          <ac:spMkLst>
            <pc:docMk/>
            <pc:sldMk cId="3164071390" sldId="2147229459"/>
            <ac:spMk id="11" creationId="{34881AC0-4CBE-4B66-95E0-F899432545D2}"/>
          </ac:spMkLst>
        </pc:spChg>
        <pc:spChg chg="add mod">
          <ac:chgData name="IHADDADENE, Mohamed" userId="e01a991b-5a35-468b-af4c-bfe3aed91b77" providerId="ADAL" clId="{482B38D3-C914-4A34-B877-0B22FDA5E7EA}" dt="2022-02-27T23:56:29.794" v="7531" actId="14100"/>
          <ac:spMkLst>
            <pc:docMk/>
            <pc:sldMk cId="3164071390" sldId="2147229459"/>
            <ac:spMk id="12" creationId="{8A2E91ED-536D-4710-88E5-4B7D283532EC}"/>
          </ac:spMkLst>
        </pc:spChg>
        <pc:spChg chg="add mod">
          <ac:chgData name="IHADDADENE, Mohamed" userId="e01a991b-5a35-468b-af4c-bfe3aed91b77" providerId="ADAL" clId="{482B38D3-C914-4A34-B877-0B22FDA5E7EA}" dt="2022-02-28T00:02:36.292" v="7728" actId="207"/>
          <ac:spMkLst>
            <pc:docMk/>
            <pc:sldMk cId="3164071390" sldId="2147229459"/>
            <ac:spMk id="13" creationId="{2A1E8673-FBF4-413C-B69E-956947C8D5FE}"/>
          </ac:spMkLst>
        </pc:spChg>
        <pc:spChg chg="add mod">
          <ac:chgData name="IHADDADENE, Mohamed" userId="e01a991b-5a35-468b-af4c-bfe3aed91b77" providerId="ADAL" clId="{482B38D3-C914-4A34-B877-0B22FDA5E7EA}" dt="2022-02-27T23:58:39.346" v="7563" actId="207"/>
          <ac:spMkLst>
            <pc:docMk/>
            <pc:sldMk cId="3164071390" sldId="2147229459"/>
            <ac:spMk id="14" creationId="{E962BD77-5751-4BFB-8547-C6CC3795E4B8}"/>
          </ac:spMkLst>
        </pc:spChg>
        <pc:spChg chg="add del mod">
          <ac:chgData name="IHADDADENE, Mohamed" userId="e01a991b-5a35-468b-af4c-bfe3aed91b77" providerId="ADAL" clId="{482B38D3-C914-4A34-B877-0B22FDA5E7EA}" dt="2022-02-27T23:55:36.530" v="7510" actId="478"/>
          <ac:spMkLst>
            <pc:docMk/>
            <pc:sldMk cId="3164071390" sldId="2147229459"/>
            <ac:spMk id="15" creationId="{4C28E83D-81D6-4474-807B-67AABA49603F}"/>
          </ac:spMkLst>
        </pc:spChg>
        <pc:spChg chg="add del mod">
          <ac:chgData name="IHADDADENE, Mohamed" userId="e01a991b-5a35-468b-af4c-bfe3aed91b77" providerId="ADAL" clId="{482B38D3-C914-4A34-B877-0B22FDA5E7EA}" dt="2022-02-27T23:55:34.556" v="7509"/>
          <ac:spMkLst>
            <pc:docMk/>
            <pc:sldMk cId="3164071390" sldId="2147229459"/>
            <ac:spMk id="16" creationId="{2053F0D9-FAB8-40AA-BA3F-1B0FE6AC091F}"/>
          </ac:spMkLst>
        </pc:spChg>
        <pc:spChg chg="add mod">
          <ac:chgData name="IHADDADENE, Mohamed" userId="e01a991b-5a35-468b-af4c-bfe3aed91b77" providerId="ADAL" clId="{482B38D3-C914-4A34-B877-0B22FDA5E7EA}" dt="2022-02-28T00:01:25.155" v="7714" actId="20577"/>
          <ac:spMkLst>
            <pc:docMk/>
            <pc:sldMk cId="3164071390" sldId="2147229459"/>
            <ac:spMk id="17" creationId="{5661AACF-CACF-43A3-9F11-B71AB4D13AFF}"/>
          </ac:spMkLst>
        </pc:spChg>
        <pc:spChg chg="add mod">
          <ac:chgData name="IHADDADENE, Mohamed" userId="e01a991b-5a35-468b-af4c-bfe3aed91b77" providerId="ADAL" clId="{482B38D3-C914-4A34-B877-0B22FDA5E7EA}" dt="2022-02-28T00:00:29.266" v="7686" actId="1037"/>
          <ac:spMkLst>
            <pc:docMk/>
            <pc:sldMk cId="3164071390" sldId="2147229459"/>
            <ac:spMk id="18" creationId="{47AE4B9A-6AA3-407D-994B-4CA5106A1F0A}"/>
          </ac:spMkLst>
        </pc:spChg>
        <pc:spChg chg="add mod">
          <ac:chgData name="IHADDADENE, Mohamed" userId="e01a991b-5a35-468b-af4c-bfe3aed91b77" providerId="ADAL" clId="{482B38D3-C914-4A34-B877-0B22FDA5E7EA}" dt="2022-02-28T00:01:27.871" v="7716" actId="20577"/>
          <ac:spMkLst>
            <pc:docMk/>
            <pc:sldMk cId="3164071390" sldId="2147229459"/>
            <ac:spMk id="19" creationId="{A590A932-B242-4265-9ECA-499FD8182879}"/>
          </ac:spMkLst>
        </pc:spChg>
        <pc:spChg chg="add mod">
          <ac:chgData name="IHADDADENE, Mohamed" userId="e01a991b-5a35-468b-af4c-bfe3aed91b77" providerId="ADAL" clId="{482B38D3-C914-4A34-B877-0B22FDA5E7EA}" dt="2022-02-28T00:00:29.266" v="7686" actId="1037"/>
          <ac:spMkLst>
            <pc:docMk/>
            <pc:sldMk cId="3164071390" sldId="2147229459"/>
            <ac:spMk id="20" creationId="{2E988E95-C787-4943-BD07-2DDCA03A2569}"/>
          </ac:spMkLst>
        </pc:spChg>
        <pc:spChg chg="add mod">
          <ac:chgData name="IHADDADENE, Mohamed" userId="e01a991b-5a35-468b-af4c-bfe3aed91b77" providerId="ADAL" clId="{482B38D3-C914-4A34-B877-0B22FDA5E7EA}" dt="2022-02-28T00:00:29.266" v="7686" actId="1037"/>
          <ac:spMkLst>
            <pc:docMk/>
            <pc:sldMk cId="3164071390" sldId="2147229459"/>
            <ac:spMk id="21" creationId="{D4ADB3C7-A798-4467-B4D9-4FDF9269821D}"/>
          </ac:spMkLst>
        </pc:spChg>
        <pc:spChg chg="add mod">
          <ac:chgData name="IHADDADENE, Mohamed" userId="e01a991b-5a35-468b-af4c-bfe3aed91b77" providerId="ADAL" clId="{482B38D3-C914-4A34-B877-0B22FDA5E7EA}" dt="2022-02-28T00:00:29.266" v="7686" actId="1037"/>
          <ac:spMkLst>
            <pc:docMk/>
            <pc:sldMk cId="3164071390" sldId="2147229459"/>
            <ac:spMk id="22" creationId="{643A02F1-D631-4502-9507-9890E42A5C01}"/>
          </ac:spMkLst>
        </pc:spChg>
        <pc:spChg chg="del">
          <ac:chgData name="IHADDADENE, Mohamed" userId="e01a991b-5a35-468b-af4c-bfe3aed91b77" providerId="ADAL" clId="{482B38D3-C914-4A34-B877-0B22FDA5E7EA}" dt="2022-02-25T15:01:34.997" v="3161" actId="478"/>
          <ac:spMkLst>
            <pc:docMk/>
            <pc:sldMk cId="3164071390" sldId="2147229459"/>
            <ac:spMk id="90" creationId="{9A1F1086-00DD-A345-9D6C-E66AB989D845}"/>
          </ac:spMkLst>
        </pc:spChg>
        <pc:picChg chg="add mod">
          <ac:chgData name="IHADDADENE, Mohamed" userId="e01a991b-5a35-468b-af4c-bfe3aed91b77" providerId="ADAL" clId="{482B38D3-C914-4A34-B877-0B22FDA5E7EA}" dt="2022-02-27T23:50:33.013" v="7293" actId="207"/>
          <ac:picMkLst>
            <pc:docMk/>
            <pc:sldMk cId="3164071390" sldId="2147229459"/>
            <ac:picMk id="4" creationId="{398674C9-952E-44EE-BF29-BD05F02E80EB}"/>
          </ac:picMkLst>
        </pc:picChg>
      </pc:sldChg>
      <pc:sldChg chg="addSp delSp modSp mod modNotesTx">
        <pc:chgData name="IHADDADENE, Mohamed" userId="e01a991b-5a35-468b-af4c-bfe3aed91b77" providerId="ADAL" clId="{482B38D3-C914-4A34-B877-0B22FDA5E7EA}" dt="2022-02-27T22:56:13.353" v="7044" actId="20577"/>
        <pc:sldMkLst>
          <pc:docMk/>
          <pc:sldMk cId="4270189039" sldId="2147229460"/>
        </pc:sldMkLst>
        <pc:spChg chg="add del mod">
          <ac:chgData name="IHADDADENE, Mohamed" userId="e01a991b-5a35-468b-af4c-bfe3aed91b77" providerId="ADAL" clId="{482B38D3-C914-4A34-B877-0B22FDA5E7EA}" dt="2022-02-27T22:47:20.979" v="6757" actId="478"/>
          <ac:spMkLst>
            <pc:docMk/>
            <pc:sldMk cId="4270189039" sldId="2147229460"/>
            <ac:spMk id="3" creationId="{4EEB3A9E-B1B6-462B-AFF9-3F63B854AFEC}"/>
          </ac:spMkLst>
        </pc:spChg>
        <pc:spChg chg="mod">
          <ac:chgData name="IHADDADENE, Mohamed" userId="e01a991b-5a35-468b-af4c-bfe3aed91b77" providerId="ADAL" clId="{482B38D3-C914-4A34-B877-0B22FDA5E7EA}" dt="2022-02-27T22:46:22.088" v="6752" actId="1035"/>
          <ac:spMkLst>
            <pc:docMk/>
            <pc:sldMk cId="4270189039" sldId="2147229460"/>
            <ac:spMk id="9" creationId="{30C3CEA4-081B-4FDD-8231-9E520EDC2869}"/>
          </ac:spMkLst>
        </pc:spChg>
        <pc:spChg chg="add mod">
          <ac:chgData name="IHADDADENE, Mohamed" userId="e01a991b-5a35-468b-af4c-bfe3aed91b77" providerId="ADAL" clId="{482B38D3-C914-4A34-B877-0B22FDA5E7EA}" dt="2022-02-27T22:54:03.714" v="6954" actId="20577"/>
          <ac:spMkLst>
            <pc:docMk/>
            <pc:sldMk cId="4270189039" sldId="2147229460"/>
            <ac:spMk id="10" creationId="{F6E8E729-7F15-4727-8E85-10D3701B99C8}"/>
          </ac:spMkLst>
        </pc:spChg>
        <pc:spChg chg="add mod">
          <ac:chgData name="IHADDADENE, Mohamed" userId="e01a991b-5a35-468b-af4c-bfe3aed91b77" providerId="ADAL" clId="{482B38D3-C914-4A34-B877-0B22FDA5E7EA}" dt="2022-02-27T22:54:42.201" v="6962" actId="20577"/>
          <ac:spMkLst>
            <pc:docMk/>
            <pc:sldMk cId="4270189039" sldId="2147229460"/>
            <ac:spMk id="11" creationId="{2F7ED1C1-A3F9-44C5-B1D5-9D030D9E8C1F}"/>
          </ac:spMkLst>
        </pc:spChg>
        <pc:spChg chg="add mod">
          <ac:chgData name="IHADDADENE, Mohamed" userId="e01a991b-5a35-468b-af4c-bfe3aed91b77" providerId="ADAL" clId="{482B38D3-C914-4A34-B877-0B22FDA5E7EA}" dt="2022-02-27T22:56:13.353" v="7044" actId="20577"/>
          <ac:spMkLst>
            <pc:docMk/>
            <pc:sldMk cId="4270189039" sldId="2147229460"/>
            <ac:spMk id="12" creationId="{63780787-8DD6-4FA1-8111-B0A28576D709}"/>
          </ac:spMkLst>
        </pc:spChg>
        <pc:spChg chg="add del mod">
          <ac:chgData name="IHADDADENE, Mohamed" userId="e01a991b-5a35-468b-af4c-bfe3aed91b77" providerId="ADAL" clId="{482B38D3-C914-4A34-B877-0B22FDA5E7EA}" dt="2022-02-27T22:47:16.678" v="6755"/>
          <ac:spMkLst>
            <pc:docMk/>
            <pc:sldMk cId="4270189039" sldId="2147229460"/>
            <ac:spMk id="13" creationId="{69669E6D-F3C8-4CDE-956A-8B60EE460615}"/>
          </ac:spMkLst>
        </pc:spChg>
        <pc:spChg chg="add mod">
          <ac:chgData name="IHADDADENE, Mohamed" userId="e01a991b-5a35-468b-af4c-bfe3aed91b77" providerId="ADAL" clId="{482B38D3-C914-4A34-B877-0B22FDA5E7EA}" dt="2022-02-27T22:48:00.861" v="6764" actId="20577"/>
          <ac:spMkLst>
            <pc:docMk/>
            <pc:sldMk cId="4270189039" sldId="2147229460"/>
            <ac:spMk id="16" creationId="{2410059B-9EF1-4B00-9973-E003869C99C2}"/>
          </ac:spMkLst>
        </pc:spChg>
        <pc:spChg chg="del">
          <ac:chgData name="IHADDADENE, Mohamed" userId="e01a991b-5a35-468b-af4c-bfe3aed91b77" providerId="ADAL" clId="{482B38D3-C914-4A34-B877-0B22FDA5E7EA}" dt="2022-02-25T15:02:12.325" v="3170" actId="478"/>
          <ac:spMkLst>
            <pc:docMk/>
            <pc:sldMk cId="4270189039" sldId="2147229460"/>
            <ac:spMk id="90" creationId="{9A1F1086-00DD-A345-9D6C-E66AB989D845}"/>
          </ac:spMkLst>
        </pc:spChg>
        <pc:spChg chg="del">
          <ac:chgData name="IHADDADENE, Mohamed" userId="e01a991b-5a35-468b-af4c-bfe3aed91b77" providerId="ADAL" clId="{482B38D3-C914-4A34-B877-0B22FDA5E7EA}" dt="2022-02-27T22:47:18.794" v="6756" actId="478"/>
          <ac:spMkLst>
            <pc:docMk/>
            <pc:sldMk cId="4270189039" sldId="2147229460"/>
            <ac:spMk id="983" creationId="{00000000-0000-0000-0000-000000000000}"/>
          </ac:spMkLst>
        </pc:spChg>
        <pc:grpChg chg="add mod">
          <ac:chgData name="IHADDADENE, Mohamed" userId="e01a991b-5a35-468b-af4c-bfe3aed91b77" providerId="ADAL" clId="{482B38D3-C914-4A34-B877-0B22FDA5E7EA}" dt="2022-02-27T22:46:22.088" v="6752" actId="1035"/>
          <ac:grpSpMkLst>
            <pc:docMk/>
            <pc:sldMk cId="4270189039" sldId="2147229460"/>
            <ac:grpSpMk id="7" creationId="{4F0CB7D3-720B-41FF-9CE9-FD40F8CA6921}"/>
          </ac:grpSpMkLst>
        </pc:grpChg>
        <pc:picChg chg="add mod">
          <ac:chgData name="IHADDADENE, Mohamed" userId="e01a991b-5a35-468b-af4c-bfe3aed91b77" providerId="ADAL" clId="{482B38D3-C914-4A34-B877-0B22FDA5E7EA}" dt="2022-02-27T22:46:22.088" v="6752" actId="1035"/>
          <ac:picMkLst>
            <pc:docMk/>
            <pc:sldMk cId="4270189039" sldId="2147229460"/>
            <ac:picMk id="5" creationId="{D945C06E-1C9B-4B50-9E79-747A508F096D}"/>
          </ac:picMkLst>
        </pc:picChg>
        <pc:picChg chg="add mod">
          <ac:chgData name="IHADDADENE, Mohamed" userId="e01a991b-5a35-468b-af4c-bfe3aed91b77" providerId="ADAL" clId="{482B38D3-C914-4A34-B877-0B22FDA5E7EA}" dt="2022-02-27T22:46:22.088" v="6752" actId="1035"/>
          <ac:picMkLst>
            <pc:docMk/>
            <pc:sldMk cId="4270189039" sldId="2147229460"/>
            <ac:picMk id="6" creationId="{02503572-C23C-4081-9A91-90D5E06E7440}"/>
          </ac:picMkLst>
        </pc:picChg>
        <pc:picChg chg="mod">
          <ac:chgData name="IHADDADENE, Mohamed" userId="e01a991b-5a35-468b-af4c-bfe3aed91b77" providerId="ADAL" clId="{482B38D3-C914-4A34-B877-0B22FDA5E7EA}" dt="2022-02-27T22:46:22.088" v="6752" actId="1035"/>
          <ac:picMkLst>
            <pc:docMk/>
            <pc:sldMk cId="4270189039" sldId="2147229460"/>
            <ac:picMk id="8" creationId="{3E0A42D7-A534-4327-919D-B3094BDFADF3}"/>
          </ac:picMkLst>
        </pc:picChg>
        <pc:picChg chg="add del">
          <ac:chgData name="IHADDADENE, Mohamed" userId="e01a991b-5a35-468b-af4c-bfe3aed91b77" providerId="ADAL" clId="{482B38D3-C914-4A34-B877-0B22FDA5E7EA}" dt="2022-02-27T22:45:43.130" v="6738"/>
          <ac:picMkLst>
            <pc:docMk/>
            <pc:sldMk cId="4270189039" sldId="2147229460"/>
            <ac:picMk id="1026" creationId="{15C069A6-EDD0-49A9-B85E-661DB9D92A92}"/>
          </ac:picMkLst>
        </pc:picChg>
        <pc:picChg chg="add del">
          <ac:chgData name="IHADDADENE, Mohamed" userId="e01a991b-5a35-468b-af4c-bfe3aed91b77" providerId="ADAL" clId="{482B38D3-C914-4A34-B877-0B22FDA5E7EA}" dt="2022-02-27T22:45:43.130" v="6738"/>
          <ac:picMkLst>
            <pc:docMk/>
            <pc:sldMk cId="4270189039" sldId="2147229460"/>
            <ac:picMk id="1027" creationId="{7F8E5558-2ABE-4A7C-AAF2-2A41E0C5FFC3}"/>
          </ac:picMkLst>
        </pc:picChg>
      </pc:sldChg>
      <pc:sldChg chg="addSp delSp modSp mod ord modNotesTx">
        <pc:chgData name="IHADDADENE, Mohamed" userId="e01a991b-5a35-468b-af4c-bfe3aed91b77" providerId="ADAL" clId="{482B38D3-C914-4A34-B877-0B22FDA5E7EA}" dt="2022-02-27T22:10:41.539" v="6308" actId="20577"/>
        <pc:sldMkLst>
          <pc:docMk/>
          <pc:sldMk cId="700603904" sldId="2147229461"/>
        </pc:sldMkLst>
        <pc:spChg chg="add del mod">
          <ac:chgData name="IHADDADENE, Mohamed" userId="e01a991b-5a35-468b-af4c-bfe3aed91b77" providerId="ADAL" clId="{482B38D3-C914-4A34-B877-0B22FDA5E7EA}" dt="2022-02-27T21:59:48.841" v="5865" actId="478"/>
          <ac:spMkLst>
            <pc:docMk/>
            <pc:sldMk cId="700603904" sldId="2147229461"/>
            <ac:spMk id="2" creationId="{90D07044-22CD-4358-8162-A8DF1C15489C}"/>
          </ac:spMkLst>
        </pc:spChg>
        <pc:spChg chg="add mod">
          <ac:chgData name="IHADDADENE, Mohamed" userId="e01a991b-5a35-468b-af4c-bfe3aed91b77" providerId="ADAL" clId="{482B38D3-C914-4A34-B877-0B22FDA5E7EA}" dt="2022-02-27T22:08:48.340" v="6191" actId="207"/>
          <ac:spMkLst>
            <pc:docMk/>
            <pc:sldMk cId="700603904" sldId="2147229461"/>
            <ac:spMk id="4" creationId="{8C5D7E64-E853-413C-8DA5-A2354CFEC11B}"/>
          </ac:spMkLst>
        </pc:spChg>
        <pc:spChg chg="add mod">
          <ac:chgData name="IHADDADENE, Mohamed" userId="e01a991b-5a35-468b-af4c-bfe3aed91b77" providerId="ADAL" clId="{482B38D3-C914-4A34-B877-0B22FDA5E7EA}" dt="2022-02-27T22:08:13.307" v="6188" actId="207"/>
          <ac:spMkLst>
            <pc:docMk/>
            <pc:sldMk cId="700603904" sldId="2147229461"/>
            <ac:spMk id="5" creationId="{E43B2302-7510-4853-B949-894DC2DE5C53}"/>
          </ac:spMkLst>
        </pc:spChg>
        <pc:spChg chg="add mod">
          <ac:chgData name="IHADDADENE, Mohamed" userId="e01a991b-5a35-468b-af4c-bfe3aed91b77" providerId="ADAL" clId="{482B38D3-C914-4A34-B877-0B22FDA5E7EA}" dt="2022-02-27T22:08:40.561" v="6190" actId="207"/>
          <ac:spMkLst>
            <pc:docMk/>
            <pc:sldMk cId="700603904" sldId="2147229461"/>
            <ac:spMk id="6" creationId="{CB69F0B3-AEC4-4D13-B0EE-4889D37521CA}"/>
          </ac:spMkLst>
        </pc:spChg>
        <pc:spChg chg="add mod">
          <ac:chgData name="IHADDADENE, Mohamed" userId="e01a991b-5a35-468b-af4c-bfe3aed91b77" providerId="ADAL" clId="{482B38D3-C914-4A34-B877-0B22FDA5E7EA}" dt="2022-02-27T22:08:19.827" v="6189" actId="207"/>
          <ac:spMkLst>
            <pc:docMk/>
            <pc:sldMk cId="700603904" sldId="2147229461"/>
            <ac:spMk id="7" creationId="{D6FF65BB-1864-4C2F-9299-3A0D17EF3851}"/>
          </ac:spMkLst>
        </pc:spChg>
        <pc:spChg chg="add mod topLvl">
          <ac:chgData name="IHADDADENE, Mohamed" userId="e01a991b-5a35-468b-af4c-bfe3aed91b77" providerId="ADAL" clId="{482B38D3-C914-4A34-B877-0B22FDA5E7EA}" dt="2022-02-27T22:09:10.647" v="6194" actId="207"/>
          <ac:spMkLst>
            <pc:docMk/>
            <pc:sldMk cId="700603904" sldId="2147229461"/>
            <ac:spMk id="12" creationId="{3696BEFE-641C-4120-AC0B-482D0B36125B}"/>
          </ac:spMkLst>
        </pc:spChg>
        <pc:spChg chg="add del mod topLvl">
          <ac:chgData name="IHADDADENE, Mohamed" userId="e01a991b-5a35-468b-af4c-bfe3aed91b77" providerId="ADAL" clId="{482B38D3-C914-4A34-B877-0B22FDA5E7EA}" dt="2022-02-27T22:05:31.771" v="6097" actId="478"/>
          <ac:spMkLst>
            <pc:docMk/>
            <pc:sldMk cId="700603904" sldId="2147229461"/>
            <ac:spMk id="13" creationId="{0581CB4E-97AE-49FC-B3EC-27916895FEDA}"/>
          </ac:spMkLst>
        </pc:spChg>
        <pc:spChg chg="add mod topLvl">
          <ac:chgData name="IHADDADENE, Mohamed" userId="e01a991b-5a35-468b-af4c-bfe3aed91b77" providerId="ADAL" clId="{482B38D3-C914-4A34-B877-0B22FDA5E7EA}" dt="2022-02-27T22:09:27.731" v="6197" actId="207"/>
          <ac:spMkLst>
            <pc:docMk/>
            <pc:sldMk cId="700603904" sldId="2147229461"/>
            <ac:spMk id="14" creationId="{22F8A07F-5843-4599-B9AC-AEB35DB957DF}"/>
          </ac:spMkLst>
        </pc:spChg>
        <pc:spChg chg="add del mod topLvl">
          <ac:chgData name="IHADDADENE, Mohamed" userId="e01a991b-5a35-468b-af4c-bfe3aed91b77" providerId="ADAL" clId="{482B38D3-C914-4A34-B877-0B22FDA5E7EA}" dt="2022-02-27T22:00:32.218" v="5870" actId="478"/>
          <ac:spMkLst>
            <pc:docMk/>
            <pc:sldMk cId="700603904" sldId="2147229461"/>
            <ac:spMk id="15" creationId="{6165AAEA-83F7-42F7-AFB4-3CD297D29C17}"/>
          </ac:spMkLst>
        </pc:spChg>
        <pc:spChg chg="add mod topLvl">
          <ac:chgData name="IHADDADENE, Mohamed" userId="e01a991b-5a35-468b-af4c-bfe3aed91b77" providerId="ADAL" clId="{482B38D3-C914-4A34-B877-0B22FDA5E7EA}" dt="2022-02-27T22:09:20.951" v="6196" actId="207"/>
          <ac:spMkLst>
            <pc:docMk/>
            <pc:sldMk cId="700603904" sldId="2147229461"/>
            <ac:spMk id="16" creationId="{8565055D-7834-4CE0-B613-4C7FB59D487D}"/>
          </ac:spMkLst>
        </pc:spChg>
        <pc:spChg chg="add del mod topLvl">
          <ac:chgData name="IHADDADENE, Mohamed" userId="e01a991b-5a35-468b-af4c-bfe3aed91b77" providerId="ADAL" clId="{482B38D3-C914-4A34-B877-0B22FDA5E7EA}" dt="2022-02-27T22:04:36.908" v="6025" actId="478"/>
          <ac:spMkLst>
            <pc:docMk/>
            <pc:sldMk cId="700603904" sldId="2147229461"/>
            <ac:spMk id="17" creationId="{20DA35F5-4C7A-4D89-AADC-160C95CE4D12}"/>
          </ac:spMkLst>
        </pc:spChg>
        <pc:spChg chg="add mod topLvl">
          <ac:chgData name="IHADDADENE, Mohamed" userId="e01a991b-5a35-468b-af4c-bfe3aed91b77" providerId="ADAL" clId="{482B38D3-C914-4A34-B877-0B22FDA5E7EA}" dt="2022-02-27T22:09:16.407" v="6195" actId="207"/>
          <ac:spMkLst>
            <pc:docMk/>
            <pc:sldMk cId="700603904" sldId="2147229461"/>
            <ac:spMk id="18" creationId="{6117149B-788C-4FC3-A9DA-3F51A4052C12}"/>
          </ac:spMkLst>
        </pc:spChg>
        <pc:spChg chg="add del mod topLvl">
          <ac:chgData name="IHADDADENE, Mohamed" userId="e01a991b-5a35-468b-af4c-bfe3aed91b77" providerId="ADAL" clId="{482B38D3-C914-4A34-B877-0B22FDA5E7EA}" dt="2022-02-27T22:01:28.506" v="5906" actId="478"/>
          <ac:spMkLst>
            <pc:docMk/>
            <pc:sldMk cId="700603904" sldId="2147229461"/>
            <ac:spMk id="19" creationId="{17147BE0-7E95-441D-B5A5-B0AF162BA240}"/>
          </ac:spMkLst>
        </pc:spChg>
        <pc:spChg chg="del">
          <ac:chgData name="IHADDADENE, Mohamed" userId="e01a991b-5a35-468b-af4c-bfe3aed91b77" providerId="ADAL" clId="{482B38D3-C914-4A34-B877-0B22FDA5E7EA}" dt="2022-02-25T15:01:40.214" v="3162" actId="478"/>
          <ac:spMkLst>
            <pc:docMk/>
            <pc:sldMk cId="700603904" sldId="2147229461"/>
            <ac:spMk id="90" creationId="{9A1F1086-00DD-A345-9D6C-E66AB989D845}"/>
          </ac:spMkLst>
        </pc:spChg>
        <pc:grpChg chg="add del mod">
          <ac:chgData name="IHADDADENE, Mohamed" userId="e01a991b-5a35-468b-af4c-bfe3aed91b77" providerId="ADAL" clId="{482B38D3-C914-4A34-B877-0B22FDA5E7EA}" dt="2022-02-27T22:01:28.506" v="5906" actId="478"/>
          <ac:grpSpMkLst>
            <pc:docMk/>
            <pc:sldMk cId="700603904" sldId="2147229461"/>
            <ac:grpSpMk id="8" creationId="{B4DF5EB9-09ED-49B0-B5BB-01BAED65AB5D}"/>
          </ac:grpSpMkLst>
        </pc:grpChg>
        <pc:grpChg chg="add del mod">
          <ac:chgData name="IHADDADENE, Mohamed" userId="e01a991b-5a35-468b-af4c-bfe3aed91b77" providerId="ADAL" clId="{482B38D3-C914-4A34-B877-0B22FDA5E7EA}" dt="2022-02-27T22:04:36.908" v="6025" actId="478"/>
          <ac:grpSpMkLst>
            <pc:docMk/>
            <pc:sldMk cId="700603904" sldId="2147229461"/>
            <ac:grpSpMk id="9" creationId="{0B35948B-25F2-44D1-AC15-9AF158A28BA6}"/>
          </ac:grpSpMkLst>
        </pc:grpChg>
        <pc:grpChg chg="add del mod">
          <ac:chgData name="IHADDADENE, Mohamed" userId="e01a991b-5a35-468b-af4c-bfe3aed91b77" providerId="ADAL" clId="{482B38D3-C914-4A34-B877-0B22FDA5E7EA}" dt="2022-02-27T22:00:32.218" v="5870" actId="478"/>
          <ac:grpSpMkLst>
            <pc:docMk/>
            <pc:sldMk cId="700603904" sldId="2147229461"/>
            <ac:grpSpMk id="10" creationId="{D373261F-C41A-4E09-B873-2B73F5AA999C}"/>
          </ac:grpSpMkLst>
        </pc:grpChg>
        <pc:grpChg chg="add del mod">
          <ac:chgData name="IHADDADENE, Mohamed" userId="e01a991b-5a35-468b-af4c-bfe3aed91b77" providerId="ADAL" clId="{482B38D3-C914-4A34-B877-0B22FDA5E7EA}" dt="2022-02-27T22:05:31.771" v="6097" actId="478"/>
          <ac:grpSpMkLst>
            <pc:docMk/>
            <pc:sldMk cId="700603904" sldId="2147229461"/>
            <ac:grpSpMk id="11" creationId="{724D4E5E-467B-4A94-9DB1-96906F0374B7}"/>
          </ac:grpSpMkLst>
        </pc:grpChg>
      </pc:sldChg>
      <pc:sldChg chg="addSp delSp modSp add mod modNotesTx">
        <pc:chgData name="IHADDADENE, Mohamed" userId="e01a991b-5a35-468b-af4c-bfe3aed91b77" providerId="ADAL" clId="{482B38D3-C914-4A34-B877-0B22FDA5E7EA}" dt="2022-02-27T21:46:00.505" v="5849" actId="1037"/>
        <pc:sldMkLst>
          <pc:docMk/>
          <pc:sldMk cId="4202593851" sldId="2147229462"/>
        </pc:sldMkLst>
        <pc:spChg chg="add del mod">
          <ac:chgData name="IHADDADENE, Mohamed" userId="e01a991b-5a35-468b-af4c-bfe3aed91b77" providerId="ADAL" clId="{482B38D3-C914-4A34-B877-0B22FDA5E7EA}" dt="2022-02-27T21:08:43.399" v="4783"/>
          <ac:spMkLst>
            <pc:docMk/>
            <pc:sldMk cId="4202593851" sldId="2147229462"/>
            <ac:spMk id="2" creationId="{A24AB370-1108-49D5-92C2-47EDB8536AA8}"/>
          </ac:spMkLst>
        </pc:spChg>
        <pc:spChg chg="add mod">
          <ac:chgData name="IHADDADENE, Mohamed" userId="e01a991b-5a35-468b-af4c-bfe3aed91b77" providerId="ADAL" clId="{482B38D3-C914-4A34-B877-0B22FDA5E7EA}" dt="2022-02-27T21:08:09.454" v="4771"/>
          <ac:spMkLst>
            <pc:docMk/>
            <pc:sldMk cId="4202593851" sldId="2147229462"/>
            <ac:spMk id="15" creationId="{89F1101E-FB82-4D46-A3F2-443587E800B7}"/>
          </ac:spMkLst>
        </pc:spChg>
        <pc:spChg chg="add mod">
          <ac:chgData name="IHADDADENE, Mohamed" userId="e01a991b-5a35-468b-af4c-bfe3aed91b77" providerId="ADAL" clId="{482B38D3-C914-4A34-B877-0B22FDA5E7EA}" dt="2022-02-27T21:08:09.454" v="4771"/>
          <ac:spMkLst>
            <pc:docMk/>
            <pc:sldMk cId="4202593851" sldId="2147229462"/>
            <ac:spMk id="16" creationId="{2D0FC19C-4470-4AA8-AF41-ADBD3F0E8ACF}"/>
          </ac:spMkLst>
        </pc:spChg>
        <pc:spChg chg="add mod">
          <ac:chgData name="IHADDADENE, Mohamed" userId="e01a991b-5a35-468b-af4c-bfe3aed91b77" providerId="ADAL" clId="{482B38D3-C914-4A34-B877-0B22FDA5E7EA}" dt="2022-02-27T21:08:09.454" v="4771"/>
          <ac:spMkLst>
            <pc:docMk/>
            <pc:sldMk cId="4202593851" sldId="2147229462"/>
            <ac:spMk id="17" creationId="{6BF8ADAC-C2C0-48C0-8CF9-B63F206BEDC3}"/>
          </ac:spMkLst>
        </pc:spChg>
        <pc:spChg chg="add mod">
          <ac:chgData name="IHADDADENE, Mohamed" userId="e01a991b-5a35-468b-af4c-bfe3aed91b77" providerId="ADAL" clId="{482B38D3-C914-4A34-B877-0B22FDA5E7EA}" dt="2022-02-27T21:08:09.454" v="4771"/>
          <ac:spMkLst>
            <pc:docMk/>
            <pc:sldMk cId="4202593851" sldId="2147229462"/>
            <ac:spMk id="18" creationId="{1AE58C1F-77F8-4EF4-8D2E-43F5401FBBCE}"/>
          </ac:spMkLst>
        </pc:spChg>
        <pc:spChg chg="add mod">
          <ac:chgData name="IHADDADENE, Mohamed" userId="e01a991b-5a35-468b-af4c-bfe3aed91b77" providerId="ADAL" clId="{482B38D3-C914-4A34-B877-0B22FDA5E7EA}" dt="2022-02-27T21:08:09.454" v="4771"/>
          <ac:spMkLst>
            <pc:docMk/>
            <pc:sldMk cId="4202593851" sldId="2147229462"/>
            <ac:spMk id="19" creationId="{B8065C7F-0301-4456-84B8-5AF881B7A1C2}"/>
          </ac:spMkLst>
        </pc:spChg>
        <pc:spChg chg="add mod">
          <ac:chgData name="IHADDADENE, Mohamed" userId="e01a991b-5a35-468b-af4c-bfe3aed91b77" providerId="ADAL" clId="{482B38D3-C914-4A34-B877-0B22FDA5E7EA}" dt="2022-02-27T21:08:09.454" v="4771"/>
          <ac:spMkLst>
            <pc:docMk/>
            <pc:sldMk cId="4202593851" sldId="2147229462"/>
            <ac:spMk id="20" creationId="{DF7D9079-4971-46A1-98BC-6F73FE2371AA}"/>
          </ac:spMkLst>
        </pc:spChg>
        <pc:spChg chg="add mod">
          <ac:chgData name="IHADDADENE, Mohamed" userId="e01a991b-5a35-468b-af4c-bfe3aed91b77" providerId="ADAL" clId="{482B38D3-C914-4A34-B877-0B22FDA5E7EA}" dt="2022-02-27T21:08:09.454" v="4771"/>
          <ac:spMkLst>
            <pc:docMk/>
            <pc:sldMk cId="4202593851" sldId="2147229462"/>
            <ac:spMk id="21" creationId="{6FB43226-C303-427C-8052-0A8EFA819C8A}"/>
          </ac:spMkLst>
        </pc:spChg>
        <pc:spChg chg="add mod">
          <ac:chgData name="IHADDADENE, Mohamed" userId="e01a991b-5a35-468b-af4c-bfe3aed91b77" providerId="ADAL" clId="{482B38D3-C914-4A34-B877-0B22FDA5E7EA}" dt="2022-02-27T21:08:09.454" v="4771"/>
          <ac:spMkLst>
            <pc:docMk/>
            <pc:sldMk cId="4202593851" sldId="2147229462"/>
            <ac:spMk id="22" creationId="{E91A957E-1CE7-4DE6-A434-31493D47F9DE}"/>
          </ac:spMkLst>
        </pc:spChg>
        <pc:spChg chg="add mod">
          <ac:chgData name="IHADDADENE, Mohamed" userId="e01a991b-5a35-468b-af4c-bfe3aed91b77" providerId="ADAL" clId="{482B38D3-C914-4A34-B877-0B22FDA5E7EA}" dt="2022-02-27T21:08:09.454" v="4771"/>
          <ac:spMkLst>
            <pc:docMk/>
            <pc:sldMk cId="4202593851" sldId="2147229462"/>
            <ac:spMk id="23" creationId="{75EF93D6-A306-4F95-8431-BCC7B24B4E48}"/>
          </ac:spMkLst>
        </pc:spChg>
        <pc:spChg chg="add mod">
          <ac:chgData name="IHADDADENE, Mohamed" userId="e01a991b-5a35-468b-af4c-bfe3aed91b77" providerId="ADAL" clId="{482B38D3-C914-4A34-B877-0B22FDA5E7EA}" dt="2022-02-27T21:08:09.454" v="4771"/>
          <ac:spMkLst>
            <pc:docMk/>
            <pc:sldMk cId="4202593851" sldId="2147229462"/>
            <ac:spMk id="24" creationId="{59EE8B63-01AB-4BF0-8067-1592AA4F7AC8}"/>
          </ac:spMkLst>
        </pc:spChg>
        <pc:spChg chg="add mod">
          <ac:chgData name="IHADDADENE, Mohamed" userId="e01a991b-5a35-468b-af4c-bfe3aed91b77" providerId="ADAL" clId="{482B38D3-C914-4A34-B877-0B22FDA5E7EA}" dt="2022-02-27T21:08:09.454" v="4771"/>
          <ac:spMkLst>
            <pc:docMk/>
            <pc:sldMk cId="4202593851" sldId="2147229462"/>
            <ac:spMk id="25" creationId="{9EA8B88E-19D1-4F1A-8CCB-91E4C75D7A5E}"/>
          </ac:spMkLst>
        </pc:spChg>
        <pc:spChg chg="add mod">
          <ac:chgData name="IHADDADENE, Mohamed" userId="e01a991b-5a35-468b-af4c-bfe3aed91b77" providerId="ADAL" clId="{482B38D3-C914-4A34-B877-0B22FDA5E7EA}" dt="2022-02-27T21:08:09.454" v="4771"/>
          <ac:spMkLst>
            <pc:docMk/>
            <pc:sldMk cId="4202593851" sldId="2147229462"/>
            <ac:spMk id="26" creationId="{837ACAB7-07F5-449F-9C80-D5D9D999CA85}"/>
          </ac:spMkLst>
        </pc:spChg>
        <pc:spChg chg="add mod">
          <ac:chgData name="IHADDADENE, Mohamed" userId="e01a991b-5a35-468b-af4c-bfe3aed91b77" providerId="ADAL" clId="{482B38D3-C914-4A34-B877-0B22FDA5E7EA}" dt="2022-02-27T21:08:09.454" v="4771"/>
          <ac:spMkLst>
            <pc:docMk/>
            <pc:sldMk cId="4202593851" sldId="2147229462"/>
            <ac:spMk id="27" creationId="{EB89688C-D214-4CA6-BF68-5448B2081C24}"/>
          </ac:spMkLst>
        </pc:spChg>
        <pc:spChg chg="add mod">
          <ac:chgData name="IHADDADENE, Mohamed" userId="e01a991b-5a35-468b-af4c-bfe3aed91b77" providerId="ADAL" clId="{482B38D3-C914-4A34-B877-0B22FDA5E7EA}" dt="2022-02-27T21:08:09.454" v="4771"/>
          <ac:spMkLst>
            <pc:docMk/>
            <pc:sldMk cId="4202593851" sldId="2147229462"/>
            <ac:spMk id="28" creationId="{58FB7B42-A3AA-4303-A766-6AABF5CEA1A8}"/>
          </ac:spMkLst>
        </pc:spChg>
        <pc:spChg chg="add mod">
          <ac:chgData name="IHADDADENE, Mohamed" userId="e01a991b-5a35-468b-af4c-bfe3aed91b77" providerId="ADAL" clId="{482B38D3-C914-4A34-B877-0B22FDA5E7EA}" dt="2022-02-27T21:08:09.454" v="4771"/>
          <ac:spMkLst>
            <pc:docMk/>
            <pc:sldMk cId="4202593851" sldId="2147229462"/>
            <ac:spMk id="29" creationId="{11FFE07C-FF78-41B3-9BC9-588D2AF402DB}"/>
          </ac:spMkLst>
        </pc:spChg>
        <pc:spChg chg="add mod">
          <ac:chgData name="IHADDADENE, Mohamed" userId="e01a991b-5a35-468b-af4c-bfe3aed91b77" providerId="ADAL" clId="{482B38D3-C914-4A34-B877-0B22FDA5E7EA}" dt="2022-02-27T21:08:09.454" v="4771"/>
          <ac:spMkLst>
            <pc:docMk/>
            <pc:sldMk cId="4202593851" sldId="2147229462"/>
            <ac:spMk id="30" creationId="{4071EA1C-CBDA-45E0-BD6F-D30913A7FAAE}"/>
          </ac:spMkLst>
        </pc:spChg>
        <pc:spChg chg="add mod">
          <ac:chgData name="IHADDADENE, Mohamed" userId="e01a991b-5a35-468b-af4c-bfe3aed91b77" providerId="ADAL" clId="{482B38D3-C914-4A34-B877-0B22FDA5E7EA}" dt="2022-02-27T21:08:09.454" v="4771"/>
          <ac:spMkLst>
            <pc:docMk/>
            <pc:sldMk cId="4202593851" sldId="2147229462"/>
            <ac:spMk id="31" creationId="{9D2C2F43-D83F-42B5-8EED-CC0088FF4475}"/>
          </ac:spMkLst>
        </pc:spChg>
        <pc:spChg chg="add mod">
          <ac:chgData name="IHADDADENE, Mohamed" userId="e01a991b-5a35-468b-af4c-bfe3aed91b77" providerId="ADAL" clId="{482B38D3-C914-4A34-B877-0B22FDA5E7EA}" dt="2022-02-27T21:08:09.454" v="4771"/>
          <ac:spMkLst>
            <pc:docMk/>
            <pc:sldMk cId="4202593851" sldId="2147229462"/>
            <ac:spMk id="32" creationId="{C9F2B1B0-90E1-42FA-8315-4F46129E8101}"/>
          </ac:spMkLst>
        </pc:spChg>
        <pc:spChg chg="add mod">
          <ac:chgData name="IHADDADENE, Mohamed" userId="e01a991b-5a35-468b-af4c-bfe3aed91b77" providerId="ADAL" clId="{482B38D3-C914-4A34-B877-0B22FDA5E7EA}" dt="2022-02-27T21:08:09.454" v="4771"/>
          <ac:spMkLst>
            <pc:docMk/>
            <pc:sldMk cId="4202593851" sldId="2147229462"/>
            <ac:spMk id="33" creationId="{6BE9B6AC-6751-43D8-B556-02BE13E4223E}"/>
          </ac:spMkLst>
        </pc:spChg>
        <pc:spChg chg="add mod">
          <ac:chgData name="IHADDADENE, Mohamed" userId="e01a991b-5a35-468b-af4c-bfe3aed91b77" providerId="ADAL" clId="{482B38D3-C914-4A34-B877-0B22FDA5E7EA}" dt="2022-02-27T21:08:09.454" v="4771"/>
          <ac:spMkLst>
            <pc:docMk/>
            <pc:sldMk cId="4202593851" sldId="2147229462"/>
            <ac:spMk id="34" creationId="{A4D2AC14-B16B-48E0-93D1-37A704A7D77D}"/>
          </ac:spMkLst>
        </pc:spChg>
        <pc:spChg chg="add mod">
          <ac:chgData name="IHADDADENE, Mohamed" userId="e01a991b-5a35-468b-af4c-bfe3aed91b77" providerId="ADAL" clId="{482B38D3-C914-4A34-B877-0B22FDA5E7EA}" dt="2022-02-27T21:08:09.454" v="4771"/>
          <ac:spMkLst>
            <pc:docMk/>
            <pc:sldMk cId="4202593851" sldId="2147229462"/>
            <ac:spMk id="35" creationId="{EAA4144B-DFE4-449F-B0A6-18B07FE3E8EA}"/>
          </ac:spMkLst>
        </pc:spChg>
        <pc:spChg chg="add mod">
          <ac:chgData name="IHADDADENE, Mohamed" userId="e01a991b-5a35-468b-af4c-bfe3aed91b77" providerId="ADAL" clId="{482B38D3-C914-4A34-B877-0B22FDA5E7EA}" dt="2022-02-27T21:08:09.454" v="4771"/>
          <ac:spMkLst>
            <pc:docMk/>
            <pc:sldMk cId="4202593851" sldId="2147229462"/>
            <ac:spMk id="36" creationId="{8B0C2B5E-FF61-43B4-A427-8C3D030388E9}"/>
          </ac:spMkLst>
        </pc:spChg>
        <pc:spChg chg="add mod">
          <ac:chgData name="IHADDADENE, Mohamed" userId="e01a991b-5a35-468b-af4c-bfe3aed91b77" providerId="ADAL" clId="{482B38D3-C914-4A34-B877-0B22FDA5E7EA}" dt="2022-02-27T21:08:09.454" v="4771"/>
          <ac:spMkLst>
            <pc:docMk/>
            <pc:sldMk cId="4202593851" sldId="2147229462"/>
            <ac:spMk id="37" creationId="{83EED682-FEEC-4E84-8BB2-82BF842F8310}"/>
          </ac:spMkLst>
        </pc:spChg>
        <pc:spChg chg="add mod">
          <ac:chgData name="IHADDADENE, Mohamed" userId="e01a991b-5a35-468b-af4c-bfe3aed91b77" providerId="ADAL" clId="{482B38D3-C914-4A34-B877-0B22FDA5E7EA}" dt="2022-02-27T21:08:09.454" v="4771"/>
          <ac:spMkLst>
            <pc:docMk/>
            <pc:sldMk cId="4202593851" sldId="2147229462"/>
            <ac:spMk id="38" creationId="{959F7F27-E4AD-45EF-818F-97B27411131C}"/>
          </ac:spMkLst>
        </pc:spChg>
        <pc:spChg chg="add mod">
          <ac:chgData name="IHADDADENE, Mohamed" userId="e01a991b-5a35-468b-af4c-bfe3aed91b77" providerId="ADAL" clId="{482B38D3-C914-4A34-B877-0B22FDA5E7EA}" dt="2022-02-27T21:08:09.454" v="4771"/>
          <ac:spMkLst>
            <pc:docMk/>
            <pc:sldMk cId="4202593851" sldId="2147229462"/>
            <ac:spMk id="39" creationId="{A5A7C4A1-089B-45C9-B38D-9938F6EE43AD}"/>
          </ac:spMkLst>
        </pc:spChg>
        <pc:spChg chg="add mod">
          <ac:chgData name="IHADDADENE, Mohamed" userId="e01a991b-5a35-468b-af4c-bfe3aed91b77" providerId="ADAL" clId="{482B38D3-C914-4A34-B877-0B22FDA5E7EA}" dt="2022-02-27T21:08:09.454" v="4771"/>
          <ac:spMkLst>
            <pc:docMk/>
            <pc:sldMk cId="4202593851" sldId="2147229462"/>
            <ac:spMk id="40" creationId="{0A07D14C-7163-428A-BC76-DC5749C63A06}"/>
          </ac:spMkLst>
        </pc:spChg>
        <pc:spChg chg="add mod">
          <ac:chgData name="IHADDADENE, Mohamed" userId="e01a991b-5a35-468b-af4c-bfe3aed91b77" providerId="ADAL" clId="{482B38D3-C914-4A34-B877-0B22FDA5E7EA}" dt="2022-02-27T21:08:09.454" v="4771"/>
          <ac:spMkLst>
            <pc:docMk/>
            <pc:sldMk cId="4202593851" sldId="2147229462"/>
            <ac:spMk id="41" creationId="{280AEEA0-806E-48CF-8232-1E5C413BFEF3}"/>
          </ac:spMkLst>
        </pc:spChg>
        <pc:spChg chg="add mod">
          <ac:chgData name="IHADDADENE, Mohamed" userId="e01a991b-5a35-468b-af4c-bfe3aed91b77" providerId="ADAL" clId="{482B38D3-C914-4A34-B877-0B22FDA5E7EA}" dt="2022-02-27T21:08:09.454" v="4771"/>
          <ac:spMkLst>
            <pc:docMk/>
            <pc:sldMk cId="4202593851" sldId="2147229462"/>
            <ac:spMk id="42" creationId="{43580B51-DDC9-4551-90FF-43A5ABCDB649}"/>
          </ac:spMkLst>
        </pc:spChg>
        <pc:spChg chg="add mod">
          <ac:chgData name="IHADDADENE, Mohamed" userId="e01a991b-5a35-468b-af4c-bfe3aed91b77" providerId="ADAL" clId="{482B38D3-C914-4A34-B877-0B22FDA5E7EA}" dt="2022-02-27T21:08:09.454" v="4771"/>
          <ac:spMkLst>
            <pc:docMk/>
            <pc:sldMk cId="4202593851" sldId="2147229462"/>
            <ac:spMk id="43" creationId="{FDE8E9F1-49C6-4135-B52D-39D208D826DD}"/>
          </ac:spMkLst>
        </pc:spChg>
        <pc:spChg chg="add mod">
          <ac:chgData name="IHADDADENE, Mohamed" userId="e01a991b-5a35-468b-af4c-bfe3aed91b77" providerId="ADAL" clId="{482B38D3-C914-4A34-B877-0B22FDA5E7EA}" dt="2022-02-27T21:08:09.454" v="4771"/>
          <ac:spMkLst>
            <pc:docMk/>
            <pc:sldMk cId="4202593851" sldId="2147229462"/>
            <ac:spMk id="44" creationId="{311D4B4B-C75C-4C72-981E-00B75D57B3F5}"/>
          </ac:spMkLst>
        </pc:spChg>
        <pc:spChg chg="add mod">
          <ac:chgData name="IHADDADENE, Mohamed" userId="e01a991b-5a35-468b-af4c-bfe3aed91b77" providerId="ADAL" clId="{482B38D3-C914-4A34-B877-0B22FDA5E7EA}" dt="2022-02-27T21:08:09.454" v="4771"/>
          <ac:spMkLst>
            <pc:docMk/>
            <pc:sldMk cId="4202593851" sldId="2147229462"/>
            <ac:spMk id="45" creationId="{3F2FD2EA-F458-4DCE-B621-36CA0F9EF4EE}"/>
          </ac:spMkLst>
        </pc:spChg>
        <pc:spChg chg="add mod">
          <ac:chgData name="IHADDADENE, Mohamed" userId="e01a991b-5a35-468b-af4c-bfe3aed91b77" providerId="ADAL" clId="{482B38D3-C914-4A34-B877-0B22FDA5E7EA}" dt="2022-02-27T21:08:09.454" v="4771"/>
          <ac:spMkLst>
            <pc:docMk/>
            <pc:sldMk cId="4202593851" sldId="2147229462"/>
            <ac:spMk id="46" creationId="{3E6809AA-D5B2-467D-88B8-5CFF1B505CBB}"/>
          </ac:spMkLst>
        </pc:spChg>
        <pc:spChg chg="add mod">
          <ac:chgData name="IHADDADENE, Mohamed" userId="e01a991b-5a35-468b-af4c-bfe3aed91b77" providerId="ADAL" clId="{482B38D3-C914-4A34-B877-0B22FDA5E7EA}" dt="2022-02-27T21:08:09.454" v="4771"/>
          <ac:spMkLst>
            <pc:docMk/>
            <pc:sldMk cId="4202593851" sldId="2147229462"/>
            <ac:spMk id="47" creationId="{56D63B72-B00A-4B63-A9DB-AA51036FD6C1}"/>
          </ac:spMkLst>
        </pc:spChg>
        <pc:spChg chg="add mod">
          <ac:chgData name="IHADDADENE, Mohamed" userId="e01a991b-5a35-468b-af4c-bfe3aed91b77" providerId="ADAL" clId="{482B38D3-C914-4A34-B877-0B22FDA5E7EA}" dt="2022-02-27T21:08:09.454" v="4771"/>
          <ac:spMkLst>
            <pc:docMk/>
            <pc:sldMk cId="4202593851" sldId="2147229462"/>
            <ac:spMk id="48" creationId="{186594CE-AA48-4A74-A45B-F4980F8B8693}"/>
          </ac:spMkLst>
        </pc:spChg>
        <pc:spChg chg="add mod">
          <ac:chgData name="IHADDADENE, Mohamed" userId="e01a991b-5a35-468b-af4c-bfe3aed91b77" providerId="ADAL" clId="{482B38D3-C914-4A34-B877-0B22FDA5E7EA}" dt="2022-02-27T21:08:09.454" v="4771"/>
          <ac:spMkLst>
            <pc:docMk/>
            <pc:sldMk cId="4202593851" sldId="2147229462"/>
            <ac:spMk id="49" creationId="{EA88B643-B18E-4078-A70D-82FBBECC9F5A}"/>
          </ac:spMkLst>
        </pc:spChg>
        <pc:spChg chg="add mod">
          <ac:chgData name="IHADDADENE, Mohamed" userId="e01a991b-5a35-468b-af4c-bfe3aed91b77" providerId="ADAL" clId="{482B38D3-C914-4A34-B877-0B22FDA5E7EA}" dt="2022-02-27T21:08:09.454" v="4771"/>
          <ac:spMkLst>
            <pc:docMk/>
            <pc:sldMk cId="4202593851" sldId="2147229462"/>
            <ac:spMk id="50" creationId="{FE2AEF30-41A2-4D27-AEEC-1E8C5C5A1514}"/>
          </ac:spMkLst>
        </pc:spChg>
        <pc:spChg chg="add mod">
          <ac:chgData name="IHADDADENE, Mohamed" userId="e01a991b-5a35-468b-af4c-bfe3aed91b77" providerId="ADAL" clId="{482B38D3-C914-4A34-B877-0B22FDA5E7EA}" dt="2022-02-27T21:08:09.454" v="4771"/>
          <ac:spMkLst>
            <pc:docMk/>
            <pc:sldMk cId="4202593851" sldId="2147229462"/>
            <ac:spMk id="51" creationId="{CE7641A7-F7B3-43FC-AAF4-91E59272F4BA}"/>
          </ac:spMkLst>
        </pc:spChg>
        <pc:spChg chg="add mod">
          <ac:chgData name="IHADDADENE, Mohamed" userId="e01a991b-5a35-468b-af4c-bfe3aed91b77" providerId="ADAL" clId="{482B38D3-C914-4A34-B877-0B22FDA5E7EA}" dt="2022-02-27T21:08:09.454" v="4771"/>
          <ac:spMkLst>
            <pc:docMk/>
            <pc:sldMk cId="4202593851" sldId="2147229462"/>
            <ac:spMk id="52" creationId="{DE2330CD-02C4-4AE6-BE2E-3042C4DDAE95}"/>
          </ac:spMkLst>
        </pc:spChg>
        <pc:spChg chg="add mod">
          <ac:chgData name="IHADDADENE, Mohamed" userId="e01a991b-5a35-468b-af4c-bfe3aed91b77" providerId="ADAL" clId="{482B38D3-C914-4A34-B877-0B22FDA5E7EA}" dt="2022-02-27T21:08:17.589" v="4774"/>
          <ac:spMkLst>
            <pc:docMk/>
            <pc:sldMk cId="4202593851" sldId="2147229462"/>
            <ac:spMk id="64" creationId="{89F1101E-FB82-4D46-A3F2-443587E800B7}"/>
          </ac:spMkLst>
        </pc:spChg>
        <pc:spChg chg="add mod">
          <ac:chgData name="IHADDADENE, Mohamed" userId="e01a991b-5a35-468b-af4c-bfe3aed91b77" providerId="ADAL" clId="{482B38D3-C914-4A34-B877-0B22FDA5E7EA}" dt="2022-02-27T21:08:17.589" v="4774"/>
          <ac:spMkLst>
            <pc:docMk/>
            <pc:sldMk cId="4202593851" sldId="2147229462"/>
            <ac:spMk id="65" creationId="{2D0FC19C-4470-4AA8-AF41-ADBD3F0E8ACF}"/>
          </ac:spMkLst>
        </pc:spChg>
        <pc:spChg chg="add mod">
          <ac:chgData name="IHADDADENE, Mohamed" userId="e01a991b-5a35-468b-af4c-bfe3aed91b77" providerId="ADAL" clId="{482B38D3-C914-4A34-B877-0B22FDA5E7EA}" dt="2022-02-27T21:08:17.589" v="4774"/>
          <ac:spMkLst>
            <pc:docMk/>
            <pc:sldMk cId="4202593851" sldId="2147229462"/>
            <ac:spMk id="66" creationId="{6BF8ADAC-C2C0-48C0-8CF9-B63F206BEDC3}"/>
          </ac:spMkLst>
        </pc:spChg>
        <pc:spChg chg="add mod">
          <ac:chgData name="IHADDADENE, Mohamed" userId="e01a991b-5a35-468b-af4c-bfe3aed91b77" providerId="ADAL" clId="{482B38D3-C914-4A34-B877-0B22FDA5E7EA}" dt="2022-02-27T21:08:17.589" v="4774"/>
          <ac:spMkLst>
            <pc:docMk/>
            <pc:sldMk cId="4202593851" sldId="2147229462"/>
            <ac:spMk id="67" creationId="{1AE58C1F-77F8-4EF4-8D2E-43F5401FBBCE}"/>
          </ac:spMkLst>
        </pc:spChg>
        <pc:spChg chg="add mod">
          <ac:chgData name="IHADDADENE, Mohamed" userId="e01a991b-5a35-468b-af4c-bfe3aed91b77" providerId="ADAL" clId="{482B38D3-C914-4A34-B877-0B22FDA5E7EA}" dt="2022-02-27T21:08:17.589" v="4774"/>
          <ac:spMkLst>
            <pc:docMk/>
            <pc:sldMk cId="4202593851" sldId="2147229462"/>
            <ac:spMk id="68" creationId="{B8065C7F-0301-4456-84B8-5AF881B7A1C2}"/>
          </ac:spMkLst>
        </pc:spChg>
        <pc:spChg chg="add mod">
          <ac:chgData name="IHADDADENE, Mohamed" userId="e01a991b-5a35-468b-af4c-bfe3aed91b77" providerId="ADAL" clId="{482B38D3-C914-4A34-B877-0B22FDA5E7EA}" dt="2022-02-27T21:08:17.589" v="4774"/>
          <ac:spMkLst>
            <pc:docMk/>
            <pc:sldMk cId="4202593851" sldId="2147229462"/>
            <ac:spMk id="69" creationId="{DF7D9079-4971-46A1-98BC-6F73FE2371AA}"/>
          </ac:spMkLst>
        </pc:spChg>
        <pc:spChg chg="add mod">
          <ac:chgData name="IHADDADENE, Mohamed" userId="e01a991b-5a35-468b-af4c-bfe3aed91b77" providerId="ADAL" clId="{482B38D3-C914-4A34-B877-0B22FDA5E7EA}" dt="2022-02-27T21:08:17.589" v="4774"/>
          <ac:spMkLst>
            <pc:docMk/>
            <pc:sldMk cId="4202593851" sldId="2147229462"/>
            <ac:spMk id="70" creationId="{6FB43226-C303-427C-8052-0A8EFA819C8A}"/>
          </ac:spMkLst>
        </pc:spChg>
        <pc:spChg chg="add mod">
          <ac:chgData name="IHADDADENE, Mohamed" userId="e01a991b-5a35-468b-af4c-bfe3aed91b77" providerId="ADAL" clId="{482B38D3-C914-4A34-B877-0B22FDA5E7EA}" dt="2022-02-27T21:08:17.589" v="4774"/>
          <ac:spMkLst>
            <pc:docMk/>
            <pc:sldMk cId="4202593851" sldId="2147229462"/>
            <ac:spMk id="71" creationId="{E91A957E-1CE7-4DE6-A434-31493D47F9DE}"/>
          </ac:spMkLst>
        </pc:spChg>
        <pc:spChg chg="add mod">
          <ac:chgData name="IHADDADENE, Mohamed" userId="e01a991b-5a35-468b-af4c-bfe3aed91b77" providerId="ADAL" clId="{482B38D3-C914-4A34-B877-0B22FDA5E7EA}" dt="2022-02-27T21:08:17.589" v="4774"/>
          <ac:spMkLst>
            <pc:docMk/>
            <pc:sldMk cId="4202593851" sldId="2147229462"/>
            <ac:spMk id="72" creationId="{75EF93D6-A306-4F95-8431-BCC7B24B4E48}"/>
          </ac:spMkLst>
        </pc:spChg>
        <pc:spChg chg="add mod">
          <ac:chgData name="IHADDADENE, Mohamed" userId="e01a991b-5a35-468b-af4c-bfe3aed91b77" providerId="ADAL" clId="{482B38D3-C914-4A34-B877-0B22FDA5E7EA}" dt="2022-02-27T21:08:17.589" v="4774"/>
          <ac:spMkLst>
            <pc:docMk/>
            <pc:sldMk cId="4202593851" sldId="2147229462"/>
            <ac:spMk id="73" creationId="{59EE8B63-01AB-4BF0-8067-1592AA4F7AC8}"/>
          </ac:spMkLst>
        </pc:spChg>
        <pc:spChg chg="add mod">
          <ac:chgData name="IHADDADENE, Mohamed" userId="e01a991b-5a35-468b-af4c-bfe3aed91b77" providerId="ADAL" clId="{482B38D3-C914-4A34-B877-0B22FDA5E7EA}" dt="2022-02-27T21:08:17.589" v="4774"/>
          <ac:spMkLst>
            <pc:docMk/>
            <pc:sldMk cId="4202593851" sldId="2147229462"/>
            <ac:spMk id="74" creationId="{9EA8B88E-19D1-4F1A-8CCB-91E4C75D7A5E}"/>
          </ac:spMkLst>
        </pc:spChg>
        <pc:spChg chg="add mod">
          <ac:chgData name="IHADDADENE, Mohamed" userId="e01a991b-5a35-468b-af4c-bfe3aed91b77" providerId="ADAL" clId="{482B38D3-C914-4A34-B877-0B22FDA5E7EA}" dt="2022-02-27T21:08:17.589" v="4774"/>
          <ac:spMkLst>
            <pc:docMk/>
            <pc:sldMk cId="4202593851" sldId="2147229462"/>
            <ac:spMk id="75" creationId="{837ACAB7-07F5-449F-9C80-D5D9D999CA85}"/>
          </ac:spMkLst>
        </pc:spChg>
        <pc:spChg chg="add mod">
          <ac:chgData name="IHADDADENE, Mohamed" userId="e01a991b-5a35-468b-af4c-bfe3aed91b77" providerId="ADAL" clId="{482B38D3-C914-4A34-B877-0B22FDA5E7EA}" dt="2022-02-27T21:08:17.589" v="4774"/>
          <ac:spMkLst>
            <pc:docMk/>
            <pc:sldMk cId="4202593851" sldId="2147229462"/>
            <ac:spMk id="76" creationId="{EB89688C-D214-4CA6-BF68-5448B2081C24}"/>
          </ac:spMkLst>
        </pc:spChg>
        <pc:spChg chg="add mod">
          <ac:chgData name="IHADDADENE, Mohamed" userId="e01a991b-5a35-468b-af4c-bfe3aed91b77" providerId="ADAL" clId="{482B38D3-C914-4A34-B877-0B22FDA5E7EA}" dt="2022-02-27T21:44:11.650" v="5724" actId="1076"/>
          <ac:spMkLst>
            <pc:docMk/>
            <pc:sldMk cId="4202593851" sldId="2147229462"/>
            <ac:spMk id="77" creationId="{58FB7B42-A3AA-4303-A766-6AABF5CEA1A8}"/>
          </ac:spMkLst>
        </pc:spChg>
        <pc:spChg chg="add mod">
          <ac:chgData name="IHADDADENE, Mohamed" userId="e01a991b-5a35-468b-af4c-bfe3aed91b77" providerId="ADAL" clId="{482B38D3-C914-4A34-B877-0B22FDA5E7EA}" dt="2022-02-27T21:40:58.286" v="5705" actId="207"/>
          <ac:spMkLst>
            <pc:docMk/>
            <pc:sldMk cId="4202593851" sldId="2147229462"/>
            <ac:spMk id="78" creationId="{11FFE07C-FF78-41B3-9BC9-588D2AF402DB}"/>
          </ac:spMkLst>
        </pc:spChg>
        <pc:spChg chg="add mod">
          <ac:chgData name="IHADDADENE, Mohamed" userId="e01a991b-5a35-468b-af4c-bfe3aed91b77" providerId="ADAL" clId="{482B38D3-C914-4A34-B877-0B22FDA5E7EA}" dt="2022-02-27T21:08:17.589" v="4774"/>
          <ac:spMkLst>
            <pc:docMk/>
            <pc:sldMk cId="4202593851" sldId="2147229462"/>
            <ac:spMk id="79" creationId="{4071EA1C-CBDA-45E0-BD6F-D30913A7FAAE}"/>
          </ac:spMkLst>
        </pc:spChg>
        <pc:spChg chg="add mod">
          <ac:chgData name="IHADDADENE, Mohamed" userId="e01a991b-5a35-468b-af4c-bfe3aed91b77" providerId="ADAL" clId="{482B38D3-C914-4A34-B877-0B22FDA5E7EA}" dt="2022-02-27T21:08:17.589" v="4774"/>
          <ac:spMkLst>
            <pc:docMk/>
            <pc:sldMk cId="4202593851" sldId="2147229462"/>
            <ac:spMk id="80" creationId="{9D2C2F43-D83F-42B5-8EED-CC0088FF4475}"/>
          </ac:spMkLst>
        </pc:spChg>
        <pc:spChg chg="add mod">
          <ac:chgData name="IHADDADENE, Mohamed" userId="e01a991b-5a35-468b-af4c-bfe3aed91b77" providerId="ADAL" clId="{482B38D3-C914-4A34-B877-0B22FDA5E7EA}" dt="2022-02-27T21:18:04.799" v="5069" actId="207"/>
          <ac:spMkLst>
            <pc:docMk/>
            <pc:sldMk cId="4202593851" sldId="2147229462"/>
            <ac:spMk id="81" creationId="{C9F2B1B0-90E1-42FA-8315-4F46129E8101}"/>
          </ac:spMkLst>
        </pc:spChg>
        <pc:spChg chg="add mod">
          <ac:chgData name="IHADDADENE, Mohamed" userId="e01a991b-5a35-468b-af4c-bfe3aed91b77" providerId="ADAL" clId="{482B38D3-C914-4A34-B877-0B22FDA5E7EA}" dt="2022-02-27T21:39:37.155" v="5680" actId="20577"/>
          <ac:spMkLst>
            <pc:docMk/>
            <pc:sldMk cId="4202593851" sldId="2147229462"/>
            <ac:spMk id="82" creationId="{6BE9B6AC-6751-43D8-B556-02BE13E4223E}"/>
          </ac:spMkLst>
        </pc:spChg>
        <pc:spChg chg="add mod">
          <ac:chgData name="IHADDADENE, Mohamed" userId="e01a991b-5a35-468b-af4c-bfe3aed91b77" providerId="ADAL" clId="{482B38D3-C914-4A34-B877-0B22FDA5E7EA}" dt="2022-02-27T21:18:07.826" v="5070" actId="207"/>
          <ac:spMkLst>
            <pc:docMk/>
            <pc:sldMk cId="4202593851" sldId="2147229462"/>
            <ac:spMk id="83" creationId="{A4D2AC14-B16B-48E0-93D1-37A704A7D77D}"/>
          </ac:spMkLst>
        </pc:spChg>
        <pc:spChg chg="add mod">
          <ac:chgData name="IHADDADENE, Mohamed" userId="e01a991b-5a35-468b-af4c-bfe3aed91b77" providerId="ADAL" clId="{482B38D3-C914-4A34-B877-0B22FDA5E7EA}" dt="2022-02-27T21:43:54.939" v="5721" actId="20577"/>
          <ac:spMkLst>
            <pc:docMk/>
            <pc:sldMk cId="4202593851" sldId="2147229462"/>
            <ac:spMk id="84" creationId="{EAA4144B-DFE4-449F-B0A6-18B07FE3E8EA}"/>
          </ac:spMkLst>
        </pc:spChg>
        <pc:spChg chg="add mod">
          <ac:chgData name="IHADDADENE, Mohamed" userId="e01a991b-5a35-468b-af4c-bfe3aed91b77" providerId="ADAL" clId="{482B38D3-C914-4A34-B877-0B22FDA5E7EA}" dt="2022-02-27T21:08:17.589" v="4774"/>
          <ac:spMkLst>
            <pc:docMk/>
            <pc:sldMk cId="4202593851" sldId="2147229462"/>
            <ac:spMk id="85" creationId="{8B0C2B5E-FF61-43B4-A427-8C3D030388E9}"/>
          </ac:spMkLst>
        </pc:spChg>
        <pc:spChg chg="add mod">
          <ac:chgData name="IHADDADENE, Mohamed" userId="e01a991b-5a35-468b-af4c-bfe3aed91b77" providerId="ADAL" clId="{482B38D3-C914-4A34-B877-0B22FDA5E7EA}" dt="2022-02-27T21:08:17.589" v="4774"/>
          <ac:spMkLst>
            <pc:docMk/>
            <pc:sldMk cId="4202593851" sldId="2147229462"/>
            <ac:spMk id="86" creationId="{83EED682-FEEC-4E84-8BB2-82BF842F8310}"/>
          </ac:spMkLst>
        </pc:spChg>
        <pc:spChg chg="add mod">
          <ac:chgData name="IHADDADENE, Mohamed" userId="e01a991b-5a35-468b-af4c-bfe3aed91b77" providerId="ADAL" clId="{482B38D3-C914-4A34-B877-0B22FDA5E7EA}" dt="2022-02-27T21:08:17.589" v="4774"/>
          <ac:spMkLst>
            <pc:docMk/>
            <pc:sldMk cId="4202593851" sldId="2147229462"/>
            <ac:spMk id="87" creationId="{959F7F27-E4AD-45EF-818F-97B27411131C}"/>
          </ac:spMkLst>
        </pc:spChg>
        <pc:spChg chg="add mod">
          <ac:chgData name="IHADDADENE, Mohamed" userId="e01a991b-5a35-468b-af4c-bfe3aed91b77" providerId="ADAL" clId="{482B38D3-C914-4A34-B877-0B22FDA5E7EA}" dt="2022-02-27T21:08:17.589" v="4774"/>
          <ac:spMkLst>
            <pc:docMk/>
            <pc:sldMk cId="4202593851" sldId="2147229462"/>
            <ac:spMk id="88" creationId="{A5A7C4A1-089B-45C9-B38D-9938F6EE43AD}"/>
          </ac:spMkLst>
        </pc:spChg>
        <pc:spChg chg="add mod">
          <ac:chgData name="IHADDADENE, Mohamed" userId="e01a991b-5a35-468b-af4c-bfe3aed91b77" providerId="ADAL" clId="{482B38D3-C914-4A34-B877-0B22FDA5E7EA}" dt="2022-02-27T21:14:56.130" v="5047" actId="207"/>
          <ac:spMkLst>
            <pc:docMk/>
            <pc:sldMk cId="4202593851" sldId="2147229462"/>
            <ac:spMk id="89" creationId="{0A07D14C-7163-428A-BC76-DC5749C63A06}"/>
          </ac:spMkLst>
        </pc:spChg>
        <pc:spChg chg="add del mod">
          <ac:chgData name="IHADDADENE, Mohamed" userId="e01a991b-5a35-468b-af4c-bfe3aed91b77" providerId="ADAL" clId="{482B38D3-C914-4A34-B877-0B22FDA5E7EA}" dt="2022-02-27T21:08:51.676" v="4785" actId="478"/>
          <ac:spMkLst>
            <pc:docMk/>
            <pc:sldMk cId="4202593851" sldId="2147229462"/>
            <ac:spMk id="90" creationId="{280AEEA0-806E-48CF-8232-1E5C413BFEF3}"/>
          </ac:spMkLst>
        </pc:spChg>
        <pc:spChg chg="del">
          <ac:chgData name="IHADDADENE, Mohamed" userId="e01a991b-5a35-468b-af4c-bfe3aed91b77" providerId="ADAL" clId="{482B38D3-C914-4A34-B877-0B22FDA5E7EA}" dt="2022-02-25T15:02:05.767" v="3168" actId="478"/>
          <ac:spMkLst>
            <pc:docMk/>
            <pc:sldMk cId="4202593851" sldId="2147229462"/>
            <ac:spMk id="90" creationId="{9A1F1086-00DD-A345-9D6C-E66AB989D845}"/>
          </ac:spMkLst>
        </pc:spChg>
        <pc:spChg chg="add del mod">
          <ac:chgData name="IHADDADENE, Mohamed" userId="e01a991b-5a35-468b-af4c-bfe3aed91b77" providerId="ADAL" clId="{482B38D3-C914-4A34-B877-0B22FDA5E7EA}" dt="2022-02-27T21:08:56.151" v="4786" actId="478"/>
          <ac:spMkLst>
            <pc:docMk/>
            <pc:sldMk cId="4202593851" sldId="2147229462"/>
            <ac:spMk id="91" creationId="{43580B51-DDC9-4551-90FF-43A5ABCDB649}"/>
          </ac:spMkLst>
        </pc:spChg>
        <pc:spChg chg="add mod">
          <ac:chgData name="IHADDADENE, Mohamed" userId="e01a991b-5a35-468b-af4c-bfe3aed91b77" providerId="ADAL" clId="{482B38D3-C914-4A34-B877-0B22FDA5E7EA}" dt="2022-02-27T21:24:22.793" v="5218" actId="207"/>
          <ac:spMkLst>
            <pc:docMk/>
            <pc:sldMk cId="4202593851" sldId="2147229462"/>
            <ac:spMk id="92" creationId="{FDE8E9F1-49C6-4135-B52D-39D208D826DD}"/>
          </ac:spMkLst>
        </pc:spChg>
        <pc:spChg chg="add mod">
          <ac:chgData name="IHADDADENE, Mohamed" userId="e01a991b-5a35-468b-af4c-bfe3aed91b77" providerId="ADAL" clId="{482B38D3-C914-4A34-B877-0B22FDA5E7EA}" dt="2022-02-27T21:16:56.562" v="5056" actId="207"/>
          <ac:spMkLst>
            <pc:docMk/>
            <pc:sldMk cId="4202593851" sldId="2147229462"/>
            <ac:spMk id="93" creationId="{311D4B4B-C75C-4C72-981E-00B75D57B3F5}"/>
          </ac:spMkLst>
        </pc:spChg>
        <pc:spChg chg="add mod">
          <ac:chgData name="IHADDADENE, Mohamed" userId="e01a991b-5a35-468b-af4c-bfe3aed91b77" providerId="ADAL" clId="{482B38D3-C914-4A34-B877-0B22FDA5E7EA}" dt="2022-02-27T21:14:59.113" v="5048" actId="207"/>
          <ac:spMkLst>
            <pc:docMk/>
            <pc:sldMk cId="4202593851" sldId="2147229462"/>
            <ac:spMk id="94" creationId="{3F2FD2EA-F458-4DCE-B621-36CA0F9EF4EE}"/>
          </ac:spMkLst>
        </pc:spChg>
        <pc:spChg chg="add del mod">
          <ac:chgData name="IHADDADENE, Mohamed" userId="e01a991b-5a35-468b-af4c-bfe3aed91b77" providerId="ADAL" clId="{482B38D3-C914-4A34-B877-0B22FDA5E7EA}" dt="2022-02-27T21:08:43.395" v="4781" actId="478"/>
          <ac:spMkLst>
            <pc:docMk/>
            <pc:sldMk cId="4202593851" sldId="2147229462"/>
            <ac:spMk id="95" creationId="{3E6809AA-D5B2-467D-88B8-5CFF1B505CBB}"/>
          </ac:spMkLst>
        </pc:spChg>
        <pc:spChg chg="add del mod">
          <ac:chgData name="IHADDADENE, Mohamed" userId="e01a991b-5a35-468b-af4c-bfe3aed91b77" providerId="ADAL" clId="{482B38D3-C914-4A34-B877-0B22FDA5E7EA}" dt="2022-02-27T21:08:46.751" v="4784" actId="478"/>
          <ac:spMkLst>
            <pc:docMk/>
            <pc:sldMk cId="4202593851" sldId="2147229462"/>
            <ac:spMk id="96" creationId="{56D63B72-B00A-4B63-A9DB-AA51036FD6C1}"/>
          </ac:spMkLst>
        </pc:spChg>
        <pc:spChg chg="add mod">
          <ac:chgData name="IHADDADENE, Mohamed" userId="e01a991b-5a35-468b-af4c-bfe3aed91b77" providerId="ADAL" clId="{482B38D3-C914-4A34-B877-0B22FDA5E7EA}" dt="2022-02-27T21:24:15.128" v="5217" actId="207"/>
          <ac:spMkLst>
            <pc:docMk/>
            <pc:sldMk cId="4202593851" sldId="2147229462"/>
            <ac:spMk id="97" creationId="{186594CE-AA48-4A74-A45B-F4980F8B8693}"/>
          </ac:spMkLst>
        </pc:spChg>
        <pc:spChg chg="add mod">
          <ac:chgData name="IHADDADENE, Mohamed" userId="e01a991b-5a35-468b-af4c-bfe3aed91b77" providerId="ADAL" clId="{482B38D3-C914-4A34-B877-0B22FDA5E7EA}" dt="2022-02-27T21:16:49.204" v="5055" actId="207"/>
          <ac:spMkLst>
            <pc:docMk/>
            <pc:sldMk cId="4202593851" sldId="2147229462"/>
            <ac:spMk id="98" creationId="{EA88B643-B18E-4078-A70D-82FBBECC9F5A}"/>
          </ac:spMkLst>
        </pc:spChg>
        <pc:spChg chg="add mod">
          <ac:chgData name="IHADDADENE, Mohamed" userId="e01a991b-5a35-468b-af4c-bfe3aed91b77" providerId="ADAL" clId="{482B38D3-C914-4A34-B877-0B22FDA5E7EA}" dt="2022-02-27T21:14:31.169" v="5043" actId="207"/>
          <ac:spMkLst>
            <pc:docMk/>
            <pc:sldMk cId="4202593851" sldId="2147229462"/>
            <ac:spMk id="99" creationId="{FE2AEF30-41A2-4D27-AEEC-1E8C5C5A1514}"/>
          </ac:spMkLst>
        </pc:spChg>
        <pc:spChg chg="add mod">
          <ac:chgData name="IHADDADENE, Mohamed" userId="e01a991b-5a35-468b-af4c-bfe3aed91b77" providerId="ADAL" clId="{482B38D3-C914-4A34-B877-0B22FDA5E7EA}" dt="2022-02-27T21:14:48.441" v="5045" actId="207"/>
          <ac:spMkLst>
            <pc:docMk/>
            <pc:sldMk cId="4202593851" sldId="2147229462"/>
            <ac:spMk id="100" creationId="{CE7641A7-F7B3-43FC-AAF4-91E59272F4BA}"/>
          </ac:spMkLst>
        </pc:spChg>
        <pc:spChg chg="add mod">
          <ac:chgData name="IHADDADENE, Mohamed" userId="e01a991b-5a35-468b-af4c-bfe3aed91b77" providerId="ADAL" clId="{482B38D3-C914-4A34-B877-0B22FDA5E7EA}" dt="2022-02-27T21:14:52.424" v="5046" actId="207"/>
          <ac:spMkLst>
            <pc:docMk/>
            <pc:sldMk cId="4202593851" sldId="2147229462"/>
            <ac:spMk id="101" creationId="{DE2330CD-02C4-4AE6-BE2E-3042C4DDAE95}"/>
          </ac:spMkLst>
        </pc:spChg>
        <pc:spChg chg="add mod">
          <ac:chgData name="IHADDADENE, Mohamed" userId="e01a991b-5a35-468b-af4c-bfe3aed91b77" providerId="ADAL" clId="{482B38D3-C914-4A34-B877-0B22FDA5E7EA}" dt="2022-02-27T21:44:43.201" v="5782" actId="1036"/>
          <ac:spMkLst>
            <pc:docMk/>
            <pc:sldMk cId="4202593851" sldId="2147229462"/>
            <ac:spMk id="967" creationId="{55CAD0BE-AD55-4963-9E1E-ADD100A24E2C}"/>
          </ac:spMkLst>
        </pc:spChg>
        <pc:spChg chg="mod">
          <ac:chgData name="IHADDADENE, Mohamed" userId="e01a991b-5a35-468b-af4c-bfe3aed91b77" providerId="ADAL" clId="{482B38D3-C914-4A34-B877-0B22FDA5E7EA}" dt="2022-02-25T12:07:53.649" v="66" actId="20577"/>
          <ac:spMkLst>
            <pc:docMk/>
            <pc:sldMk cId="4202593851" sldId="2147229462"/>
            <ac:spMk id="983" creationId="{00000000-0000-0000-0000-000000000000}"/>
          </ac:spMkLst>
        </pc:spChg>
        <pc:grpChg chg="add mod">
          <ac:chgData name="IHADDADENE, Mohamed" userId="e01a991b-5a35-468b-af4c-bfe3aed91b77" providerId="ADAL" clId="{482B38D3-C914-4A34-B877-0B22FDA5E7EA}" dt="2022-02-27T21:08:09.454" v="4771"/>
          <ac:grpSpMkLst>
            <pc:docMk/>
            <pc:sldMk cId="4202593851" sldId="2147229462"/>
            <ac:grpSpMk id="4" creationId="{741326D3-8D54-41F0-AB40-E8F9E08E219F}"/>
          </ac:grpSpMkLst>
        </pc:grpChg>
        <pc:grpChg chg="add mod">
          <ac:chgData name="IHADDADENE, Mohamed" userId="e01a991b-5a35-468b-af4c-bfe3aed91b77" providerId="ADAL" clId="{482B38D3-C914-4A34-B877-0B22FDA5E7EA}" dt="2022-02-27T21:08:09.454" v="4771"/>
          <ac:grpSpMkLst>
            <pc:docMk/>
            <pc:sldMk cId="4202593851" sldId="2147229462"/>
            <ac:grpSpMk id="5" creationId="{76CED3EA-4D5B-4546-BC72-9B4596E452C6}"/>
          </ac:grpSpMkLst>
        </pc:grpChg>
        <pc:grpChg chg="add mod">
          <ac:chgData name="IHADDADENE, Mohamed" userId="e01a991b-5a35-468b-af4c-bfe3aed91b77" providerId="ADAL" clId="{482B38D3-C914-4A34-B877-0B22FDA5E7EA}" dt="2022-02-27T21:08:09.454" v="4771"/>
          <ac:grpSpMkLst>
            <pc:docMk/>
            <pc:sldMk cId="4202593851" sldId="2147229462"/>
            <ac:grpSpMk id="6" creationId="{84D422D1-3BE6-4C38-A8F6-9234FD4A99C3}"/>
          </ac:grpSpMkLst>
        </pc:grpChg>
        <pc:grpChg chg="add mod">
          <ac:chgData name="IHADDADENE, Mohamed" userId="e01a991b-5a35-468b-af4c-bfe3aed91b77" providerId="ADAL" clId="{482B38D3-C914-4A34-B877-0B22FDA5E7EA}" dt="2022-02-27T21:08:09.454" v="4771"/>
          <ac:grpSpMkLst>
            <pc:docMk/>
            <pc:sldMk cId="4202593851" sldId="2147229462"/>
            <ac:grpSpMk id="7" creationId="{9B991817-26A4-4F89-B09D-39D933C07363}"/>
          </ac:grpSpMkLst>
        </pc:grpChg>
        <pc:grpChg chg="add mod">
          <ac:chgData name="IHADDADENE, Mohamed" userId="e01a991b-5a35-468b-af4c-bfe3aed91b77" providerId="ADAL" clId="{482B38D3-C914-4A34-B877-0B22FDA5E7EA}" dt="2022-02-27T21:08:09.454" v="4771"/>
          <ac:grpSpMkLst>
            <pc:docMk/>
            <pc:sldMk cId="4202593851" sldId="2147229462"/>
            <ac:grpSpMk id="8" creationId="{08B65C16-6A60-4A92-BD73-9AE1854AFBDB}"/>
          </ac:grpSpMkLst>
        </pc:grpChg>
        <pc:grpChg chg="add mod">
          <ac:chgData name="IHADDADENE, Mohamed" userId="e01a991b-5a35-468b-af4c-bfe3aed91b77" providerId="ADAL" clId="{482B38D3-C914-4A34-B877-0B22FDA5E7EA}" dt="2022-02-27T21:08:09.454" v="4771"/>
          <ac:grpSpMkLst>
            <pc:docMk/>
            <pc:sldMk cId="4202593851" sldId="2147229462"/>
            <ac:grpSpMk id="9" creationId="{7FCB078C-6088-40E2-8985-DC05C4FC69FF}"/>
          </ac:grpSpMkLst>
        </pc:grpChg>
        <pc:grpChg chg="add mod">
          <ac:chgData name="IHADDADENE, Mohamed" userId="e01a991b-5a35-468b-af4c-bfe3aed91b77" providerId="ADAL" clId="{482B38D3-C914-4A34-B877-0B22FDA5E7EA}" dt="2022-02-27T21:08:09.454" v="4771"/>
          <ac:grpSpMkLst>
            <pc:docMk/>
            <pc:sldMk cId="4202593851" sldId="2147229462"/>
            <ac:grpSpMk id="10" creationId="{32105894-AE78-4ED1-849F-278997DD4407}"/>
          </ac:grpSpMkLst>
        </pc:grpChg>
        <pc:grpChg chg="add mod">
          <ac:chgData name="IHADDADENE, Mohamed" userId="e01a991b-5a35-468b-af4c-bfe3aed91b77" providerId="ADAL" clId="{482B38D3-C914-4A34-B877-0B22FDA5E7EA}" dt="2022-02-27T21:08:09.454" v="4771"/>
          <ac:grpSpMkLst>
            <pc:docMk/>
            <pc:sldMk cId="4202593851" sldId="2147229462"/>
            <ac:grpSpMk id="11" creationId="{3FFCEE50-9DDE-40DF-AD36-84132716412D}"/>
          </ac:grpSpMkLst>
        </pc:grpChg>
        <pc:grpChg chg="add mod">
          <ac:chgData name="IHADDADENE, Mohamed" userId="e01a991b-5a35-468b-af4c-bfe3aed91b77" providerId="ADAL" clId="{482B38D3-C914-4A34-B877-0B22FDA5E7EA}" dt="2022-02-27T21:08:09.454" v="4771"/>
          <ac:grpSpMkLst>
            <pc:docMk/>
            <pc:sldMk cId="4202593851" sldId="2147229462"/>
            <ac:grpSpMk id="12" creationId="{1AD7E6E8-EBB4-4A25-A18B-7D81C1231489}"/>
          </ac:grpSpMkLst>
        </pc:grpChg>
        <pc:grpChg chg="add mod">
          <ac:chgData name="IHADDADENE, Mohamed" userId="e01a991b-5a35-468b-af4c-bfe3aed91b77" providerId="ADAL" clId="{482B38D3-C914-4A34-B877-0B22FDA5E7EA}" dt="2022-02-27T21:08:09.454" v="4771"/>
          <ac:grpSpMkLst>
            <pc:docMk/>
            <pc:sldMk cId="4202593851" sldId="2147229462"/>
            <ac:grpSpMk id="13" creationId="{48B20279-1BC0-4049-A4EE-C6CAFEC489B7}"/>
          </ac:grpSpMkLst>
        </pc:grpChg>
        <pc:grpChg chg="add mod">
          <ac:chgData name="IHADDADENE, Mohamed" userId="e01a991b-5a35-468b-af4c-bfe3aed91b77" providerId="ADAL" clId="{482B38D3-C914-4A34-B877-0B22FDA5E7EA}" dt="2022-02-27T21:08:09.454" v="4771"/>
          <ac:grpSpMkLst>
            <pc:docMk/>
            <pc:sldMk cId="4202593851" sldId="2147229462"/>
            <ac:grpSpMk id="14" creationId="{0D205E6E-0262-4695-9B8D-5BC58EFCEE32}"/>
          </ac:grpSpMkLst>
        </pc:grpChg>
        <pc:grpChg chg="add mod">
          <ac:chgData name="IHADDADENE, Mohamed" userId="e01a991b-5a35-468b-af4c-bfe3aed91b77" providerId="ADAL" clId="{482B38D3-C914-4A34-B877-0B22FDA5E7EA}" dt="2022-02-27T21:44:43.201" v="5782" actId="1036"/>
          <ac:grpSpMkLst>
            <pc:docMk/>
            <pc:sldMk cId="4202593851" sldId="2147229462"/>
            <ac:grpSpMk id="53" creationId="{741326D3-8D54-41F0-AB40-E8F9E08E219F}"/>
          </ac:grpSpMkLst>
        </pc:grpChg>
        <pc:grpChg chg="add del mod">
          <ac:chgData name="IHADDADENE, Mohamed" userId="e01a991b-5a35-468b-af4c-bfe3aed91b77" providerId="ADAL" clId="{482B38D3-C914-4A34-B877-0B22FDA5E7EA}" dt="2022-02-27T21:22:59.666" v="5100" actId="478"/>
          <ac:grpSpMkLst>
            <pc:docMk/>
            <pc:sldMk cId="4202593851" sldId="2147229462"/>
            <ac:grpSpMk id="54" creationId="{76CED3EA-4D5B-4546-BC72-9B4596E452C6}"/>
          </ac:grpSpMkLst>
        </pc:grpChg>
        <pc:grpChg chg="add del mod">
          <ac:chgData name="IHADDADENE, Mohamed" userId="e01a991b-5a35-468b-af4c-bfe3aed91b77" providerId="ADAL" clId="{482B38D3-C914-4A34-B877-0B22FDA5E7EA}" dt="2022-02-27T21:09:27.933" v="4794" actId="478"/>
          <ac:grpSpMkLst>
            <pc:docMk/>
            <pc:sldMk cId="4202593851" sldId="2147229462"/>
            <ac:grpSpMk id="55" creationId="{84D422D1-3BE6-4C38-A8F6-9234FD4A99C3}"/>
          </ac:grpSpMkLst>
        </pc:grpChg>
        <pc:grpChg chg="add mod">
          <ac:chgData name="IHADDADENE, Mohamed" userId="e01a991b-5a35-468b-af4c-bfe3aed91b77" providerId="ADAL" clId="{482B38D3-C914-4A34-B877-0B22FDA5E7EA}" dt="2022-02-27T21:45:51.137" v="5819" actId="1037"/>
          <ac:grpSpMkLst>
            <pc:docMk/>
            <pc:sldMk cId="4202593851" sldId="2147229462"/>
            <ac:grpSpMk id="56" creationId="{9B991817-26A4-4F89-B09D-39D933C07363}"/>
          </ac:grpSpMkLst>
        </pc:grpChg>
        <pc:grpChg chg="add mod">
          <ac:chgData name="IHADDADENE, Mohamed" userId="e01a991b-5a35-468b-af4c-bfe3aed91b77" providerId="ADAL" clId="{482B38D3-C914-4A34-B877-0B22FDA5E7EA}" dt="2022-02-27T21:46:00.505" v="5849" actId="1037"/>
          <ac:grpSpMkLst>
            <pc:docMk/>
            <pc:sldMk cId="4202593851" sldId="2147229462"/>
            <ac:grpSpMk id="57" creationId="{08B65C16-6A60-4A92-BD73-9AE1854AFBDB}"/>
          </ac:grpSpMkLst>
        </pc:grpChg>
        <pc:grpChg chg="add del mod">
          <ac:chgData name="IHADDADENE, Mohamed" userId="e01a991b-5a35-468b-af4c-bfe3aed91b77" providerId="ADAL" clId="{482B38D3-C914-4A34-B877-0B22FDA5E7EA}" dt="2022-02-27T21:09:24.901" v="4793" actId="478"/>
          <ac:grpSpMkLst>
            <pc:docMk/>
            <pc:sldMk cId="4202593851" sldId="2147229462"/>
            <ac:grpSpMk id="58" creationId="{7FCB078C-6088-40E2-8985-DC05C4FC69FF}"/>
          </ac:grpSpMkLst>
        </pc:grpChg>
        <pc:grpChg chg="add mod">
          <ac:chgData name="IHADDADENE, Mohamed" userId="e01a991b-5a35-468b-af4c-bfe3aed91b77" providerId="ADAL" clId="{482B38D3-C914-4A34-B877-0B22FDA5E7EA}" dt="2022-02-27T21:45:46.331" v="5793" actId="1038"/>
          <ac:grpSpMkLst>
            <pc:docMk/>
            <pc:sldMk cId="4202593851" sldId="2147229462"/>
            <ac:grpSpMk id="59" creationId="{32105894-AE78-4ED1-849F-278997DD4407}"/>
          </ac:grpSpMkLst>
        </pc:grpChg>
        <pc:grpChg chg="add del mod">
          <ac:chgData name="IHADDADENE, Mohamed" userId="e01a991b-5a35-468b-af4c-bfe3aed91b77" providerId="ADAL" clId="{482B38D3-C914-4A34-B877-0B22FDA5E7EA}" dt="2022-02-27T21:09:00.096" v="4788" actId="478"/>
          <ac:grpSpMkLst>
            <pc:docMk/>
            <pc:sldMk cId="4202593851" sldId="2147229462"/>
            <ac:grpSpMk id="60" creationId="{3FFCEE50-9DDE-40DF-AD36-84132716412D}"/>
          </ac:grpSpMkLst>
        </pc:grpChg>
        <pc:grpChg chg="add del mod">
          <ac:chgData name="IHADDADENE, Mohamed" userId="e01a991b-5a35-468b-af4c-bfe3aed91b77" providerId="ADAL" clId="{482B38D3-C914-4A34-B877-0B22FDA5E7EA}" dt="2022-02-27T21:21:19.424" v="5077" actId="478"/>
          <ac:grpSpMkLst>
            <pc:docMk/>
            <pc:sldMk cId="4202593851" sldId="2147229462"/>
            <ac:grpSpMk id="61" creationId="{1AD7E6E8-EBB4-4A25-A18B-7D81C1231489}"/>
          </ac:grpSpMkLst>
        </pc:grpChg>
        <pc:grpChg chg="add del mod">
          <ac:chgData name="IHADDADENE, Mohamed" userId="e01a991b-5a35-468b-af4c-bfe3aed91b77" providerId="ADAL" clId="{482B38D3-C914-4A34-B877-0B22FDA5E7EA}" dt="2022-02-27T21:22:26.564" v="5097" actId="478"/>
          <ac:grpSpMkLst>
            <pc:docMk/>
            <pc:sldMk cId="4202593851" sldId="2147229462"/>
            <ac:grpSpMk id="62" creationId="{48B20279-1BC0-4049-A4EE-C6CAFEC489B7}"/>
          </ac:grpSpMkLst>
        </pc:grpChg>
        <pc:grpChg chg="add del mod">
          <ac:chgData name="IHADDADENE, Mohamed" userId="e01a991b-5a35-468b-af4c-bfe3aed91b77" providerId="ADAL" clId="{482B38D3-C914-4A34-B877-0B22FDA5E7EA}" dt="2022-02-27T21:08:58.124" v="4787" actId="478"/>
          <ac:grpSpMkLst>
            <pc:docMk/>
            <pc:sldMk cId="4202593851" sldId="2147229462"/>
            <ac:grpSpMk id="63" creationId="{0D205E6E-0262-4695-9B8D-5BC58EFCEE32}"/>
          </ac:grpSpMkLst>
        </pc:grpChg>
        <pc:picChg chg="add del mod">
          <ac:chgData name="IHADDADENE, Mohamed" userId="e01a991b-5a35-468b-af4c-bfe3aed91b77" providerId="ADAL" clId="{482B38D3-C914-4A34-B877-0B22FDA5E7EA}" dt="2022-02-27T21:20:01.600" v="5072" actId="931"/>
          <ac:picMkLst>
            <pc:docMk/>
            <pc:sldMk cId="4202593851" sldId="2147229462"/>
            <ac:picMk id="960" creationId="{11CF0F39-090F-4D04-9B95-8EE6BAC47B84}"/>
          </ac:picMkLst>
        </pc:picChg>
        <pc:picChg chg="add mod">
          <ac:chgData name="IHADDADENE, Mohamed" userId="e01a991b-5a35-468b-af4c-bfe3aed91b77" providerId="ADAL" clId="{482B38D3-C914-4A34-B877-0B22FDA5E7EA}" dt="2022-02-27T21:44:43.201" v="5782" actId="1036"/>
          <ac:picMkLst>
            <pc:docMk/>
            <pc:sldMk cId="4202593851" sldId="2147229462"/>
            <ac:picMk id="962" creationId="{A924502E-14DA-4DED-8ACF-3A71CC9B2511}"/>
          </ac:picMkLst>
        </pc:picChg>
        <pc:picChg chg="add mod">
          <ac:chgData name="IHADDADENE, Mohamed" userId="e01a991b-5a35-468b-af4c-bfe3aed91b77" providerId="ADAL" clId="{482B38D3-C914-4A34-B877-0B22FDA5E7EA}" dt="2022-02-27T21:44:43.201" v="5782" actId="1036"/>
          <ac:picMkLst>
            <pc:docMk/>
            <pc:sldMk cId="4202593851" sldId="2147229462"/>
            <ac:picMk id="964" creationId="{507C2E9E-68E6-4570-A257-E2CD156C214E}"/>
          </ac:picMkLst>
        </pc:picChg>
        <pc:picChg chg="add mod">
          <ac:chgData name="IHADDADENE, Mohamed" userId="e01a991b-5a35-468b-af4c-bfe3aed91b77" providerId="ADAL" clId="{482B38D3-C914-4A34-B877-0B22FDA5E7EA}" dt="2022-02-27T21:44:43.201" v="5782" actId="1036"/>
          <ac:picMkLst>
            <pc:docMk/>
            <pc:sldMk cId="4202593851" sldId="2147229462"/>
            <ac:picMk id="966" creationId="{759165EF-6E6A-40EC-B152-2C59CA710847}"/>
          </ac:picMkLst>
        </pc:picChg>
      </pc:sldChg>
      <pc:sldChg chg="modSp add mod">
        <pc:chgData name="IHADDADENE, Mohamed" userId="e01a991b-5a35-468b-af4c-bfe3aed91b77" providerId="ADAL" clId="{482B38D3-C914-4A34-B877-0B22FDA5E7EA}" dt="2022-02-27T22:59:11.897" v="7130"/>
        <pc:sldMkLst>
          <pc:docMk/>
          <pc:sldMk cId="519030510" sldId="2147229463"/>
        </pc:sldMkLst>
        <pc:spChg chg="mod">
          <ac:chgData name="IHADDADENE, Mohamed" userId="e01a991b-5a35-468b-af4c-bfe3aed91b77" providerId="ADAL" clId="{482B38D3-C914-4A34-B877-0B22FDA5E7EA}" dt="2022-02-27T22:59:11.897" v="7130"/>
          <ac:spMkLst>
            <pc:docMk/>
            <pc:sldMk cId="519030510" sldId="2147229463"/>
            <ac:spMk id="8" creationId="{3C0BE979-B0BF-477E-8C4A-17FB5793C8F7}"/>
          </ac:spMkLst>
        </pc:spChg>
        <pc:spChg chg="mod">
          <ac:chgData name="IHADDADENE, Mohamed" userId="e01a991b-5a35-468b-af4c-bfe3aed91b77" providerId="ADAL" clId="{482B38D3-C914-4A34-B877-0B22FDA5E7EA}" dt="2022-02-27T21:01:45.666" v="4692" actId="1036"/>
          <ac:spMkLst>
            <pc:docMk/>
            <pc:sldMk cId="519030510" sldId="2147229463"/>
            <ac:spMk id="11" creationId="{0DD5092F-AA96-9345-9B21-03339BCCE837}"/>
          </ac:spMkLst>
        </pc:spChg>
      </pc:sldChg>
      <pc:sldChg chg="modSp add mod">
        <pc:chgData name="IHADDADENE, Mohamed" userId="e01a991b-5a35-468b-af4c-bfe3aed91b77" providerId="ADAL" clId="{482B38D3-C914-4A34-B877-0B22FDA5E7EA}" dt="2022-02-27T22:59:03.181" v="7129"/>
        <pc:sldMkLst>
          <pc:docMk/>
          <pc:sldMk cId="1555573254" sldId="2147229464"/>
        </pc:sldMkLst>
        <pc:spChg chg="mod">
          <ac:chgData name="IHADDADENE, Mohamed" userId="e01a991b-5a35-468b-af4c-bfe3aed91b77" providerId="ADAL" clId="{482B38D3-C914-4A34-B877-0B22FDA5E7EA}" dt="2022-02-27T22:59:03.181" v="7129"/>
          <ac:spMkLst>
            <pc:docMk/>
            <pc:sldMk cId="1555573254" sldId="2147229464"/>
            <ac:spMk id="8" creationId="{3C0BE979-B0BF-477E-8C4A-17FB5793C8F7}"/>
          </ac:spMkLst>
        </pc:spChg>
        <pc:spChg chg="mod">
          <ac:chgData name="IHADDADENE, Mohamed" userId="e01a991b-5a35-468b-af4c-bfe3aed91b77" providerId="ADAL" clId="{482B38D3-C914-4A34-B877-0B22FDA5E7EA}" dt="2022-02-27T21:02:14.876" v="4720" actId="1036"/>
          <ac:spMkLst>
            <pc:docMk/>
            <pc:sldMk cId="1555573254" sldId="2147229464"/>
            <ac:spMk id="11" creationId="{0DD5092F-AA96-9345-9B21-03339BCCE837}"/>
          </ac:spMkLst>
        </pc:spChg>
      </pc:sldChg>
      <pc:sldChg chg="modSp add mod ord">
        <pc:chgData name="IHADDADENE, Mohamed" userId="e01a991b-5a35-468b-af4c-bfe3aed91b77" providerId="ADAL" clId="{482B38D3-C914-4A34-B877-0B22FDA5E7EA}" dt="2022-02-27T22:58:41.584" v="7127"/>
        <pc:sldMkLst>
          <pc:docMk/>
          <pc:sldMk cId="4203949574" sldId="2147229465"/>
        </pc:sldMkLst>
        <pc:spChg chg="mod">
          <ac:chgData name="IHADDADENE, Mohamed" userId="e01a991b-5a35-468b-af4c-bfe3aed91b77" providerId="ADAL" clId="{482B38D3-C914-4A34-B877-0B22FDA5E7EA}" dt="2022-02-27T22:58:41.584" v="7127"/>
          <ac:spMkLst>
            <pc:docMk/>
            <pc:sldMk cId="4203949574" sldId="2147229465"/>
            <ac:spMk id="8" creationId="{3C0BE979-B0BF-477E-8C4A-17FB5793C8F7}"/>
          </ac:spMkLst>
        </pc:spChg>
        <pc:spChg chg="mod">
          <ac:chgData name="IHADDADENE, Mohamed" userId="e01a991b-5a35-468b-af4c-bfe3aed91b77" providerId="ADAL" clId="{482B38D3-C914-4A34-B877-0B22FDA5E7EA}" dt="2022-02-27T21:03:45.175" v="4751" actId="1035"/>
          <ac:spMkLst>
            <pc:docMk/>
            <pc:sldMk cId="4203949574" sldId="2147229465"/>
            <ac:spMk id="11" creationId="{0DD5092F-AA96-9345-9B21-03339BCCE837}"/>
          </ac:spMkLst>
        </pc:spChg>
      </pc:sldChg>
      <pc:sldChg chg="modSp add mod">
        <pc:chgData name="IHADDADENE, Mohamed" userId="e01a991b-5a35-468b-af4c-bfe3aed91b77" providerId="ADAL" clId="{482B38D3-C914-4A34-B877-0B22FDA5E7EA}" dt="2022-02-27T22:58:54.242" v="7128"/>
        <pc:sldMkLst>
          <pc:docMk/>
          <pc:sldMk cId="2509861130" sldId="2147229466"/>
        </pc:sldMkLst>
        <pc:spChg chg="mod">
          <ac:chgData name="IHADDADENE, Mohamed" userId="e01a991b-5a35-468b-af4c-bfe3aed91b77" providerId="ADAL" clId="{482B38D3-C914-4A34-B877-0B22FDA5E7EA}" dt="2022-02-27T22:58:54.242" v="7128"/>
          <ac:spMkLst>
            <pc:docMk/>
            <pc:sldMk cId="2509861130" sldId="2147229466"/>
            <ac:spMk id="8" creationId="{3C0BE979-B0BF-477E-8C4A-17FB5793C8F7}"/>
          </ac:spMkLst>
        </pc:spChg>
        <pc:spChg chg="mod">
          <ac:chgData name="IHADDADENE, Mohamed" userId="e01a991b-5a35-468b-af4c-bfe3aed91b77" providerId="ADAL" clId="{482B38D3-C914-4A34-B877-0B22FDA5E7EA}" dt="2022-02-27T21:02:39.409" v="4737" actId="1036"/>
          <ac:spMkLst>
            <pc:docMk/>
            <pc:sldMk cId="2509861130" sldId="2147229466"/>
            <ac:spMk id="11" creationId="{0DD5092F-AA96-9345-9B21-03339BCCE837}"/>
          </ac:spMkLst>
        </pc:spChg>
      </pc:sldChg>
      <pc:sldChg chg="modSp add del mod ord">
        <pc:chgData name="IHADDADENE, Mohamed" userId="e01a991b-5a35-468b-af4c-bfe3aed91b77" providerId="ADAL" clId="{482B38D3-C914-4A34-B877-0B22FDA5E7EA}" dt="2022-02-27T21:04:12.332" v="4754" actId="47"/>
        <pc:sldMkLst>
          <pc:docMk/>
          <pc:sldMk cId="3743209409" sldId="2147229467"/>
        </pc:sldMkLst>
        <pc:spChg chg="mod">
          <ac:chgData name="IHADDADENE, Mohamed" userId="e01a991b-5a35-468b-af4c-bfe3aed91b77" providerId="ADAL" clId="{482B38D3-C914-4A34-B877-0B22FDA5E7EA}" dt="2022-02-25T13:34:18.548" v="1468" actId="1036"/>
          <ac:spMkLst>
            <pc:docMk/>
            <pc:sldMk cId="3743209409" sldId="2147229467"/>
            <ac:spMk id="11" creationId="{0DD5092F-AA96-9345-9B21-03339BCCE837}"/>
          </ac:spMkLst>
        </pc:spChg>
      </pc:sldChg>
      <pc:sldChg chg="modSp add mod ord">
        <pc:chgData name="IHADDADENE, Mohamed" userId="e01a991b-5a35-468b-af4c-bfe3aed91b77" providerId="ADAL" clId="{482B38D3-C914-4A34-B877-0B22FDA5E7EA}" dt="2022-02-27T22:58:30.718" v="7126"/>
        <pc:sldMkLst>
          <pc:docMk/>
          <pc:sldMk cId="4180455372" sldId="2147229468"/>
        </pc:sldMkLst>
        <pc:spChg chg="mod">
          <ac:chgData name="IHADDADENE, Mohamed" userId="e01a991b-5a35-468b-af4c-bfe3aed91b77" providerId="ADAL" clId="{482B38D3-C914-4A34-B877-0B22FDA5E7EA}" dt="2022-02-27T22:58:30.718" v="7126"/>
          <ac:spMkLst>
            <pc:docMk/>
            <pc:sldMk cId="4180455372" sldId="2147229468"/>
            <ac:spMk id="8" creationId="{3C0BE979-B0BF-477E-8C4A-17FB5793C8F7}"/>
          </ac:spMkLst>
        </pc:spChg>
        <pc:spChg chg="mod">
          <ac:chgData name="IHADDADENE, Mohamed" userId="e01a991b-5a35-468b-af4c-bfe3aed91b77" providerId="ADAL" clId="{482B38D3-C914-4A34-B877-0B22FDA5E7EA}" dt="2022-02-27T21:04:23.931" v="4769" actId="1035"/>
          <ac:spMkLst>
            <pc:docMk/>
            <pc:sldMk cId="4180455372" sldId="2147229468"/>
            <ac:spMk id="11" creationId="{0DD5092F-AA96-9345-9B21-03339BCCE837}"/>
          </ac:spMkLst>
        </pc:spChg>
      </pc:sldChg>
      <pc:sldChg chg="modSp add mod ord">
        <pc:chgData name="IHADDADENE, Mohamed" userId="e01a991b-5a35-468b-af4c-bfe3aed91b77" providerId="ADAL" clId="{482B38D3-C914-4A34-B877-0B22FDA5E7EA}" dt="2022-02-27T22:58:19.857" v="7125"/>
        <pc:sldMkLst>
          <pc:docMk/>
          <pc:sldMk cId="4134690514" sldId="2147229469"/>
        </pc:sldMkLst>
        <pc:spChg chg="mod">
          <ac:chgData name="IHADDADENE, Mohamed" userId="e01a991b-5a35-468b-af4c-bfe3aed91b77" providerId="ADAL" clId="{482B38D3-C914-4A34-B877-0B22FDA5E7EA}" dt="2022-02-27T22:58:19.857" v="7125"/>
          <ac:spMkLst>
            <pc:docMk/>
            <pc:sldMk cId="4134690514" sldId="2147229469"/>
            <ac:spMk id="8" creationId="{3C0BE979-B0BF-477E-8C4A-17FB5793C8F7}"/>
          </ac:spMkLst>
        </pc:spChg>
        <pc:spChg chg="mod">
          <ac:chgData name="IHADDADENE, Mohamed" userId="e01a991b-5a35-468b-af4c-bfe3aed91b77" providerId="ADAL" clId="{482B38D3-C914-4A34-B877-0B22FDA5E7EA}" dt="2022-02-27T21:47:25.131" v="5863" actId="1035"/>
          <ac:spMkLst>
            <pc:docMk/>
            <pc:sldMk cId="4134690514" sldId="2147229469"/>
            <ac:spMk id="11" creationId="{0DD5092F-AA96-9345-9B21-03339BCCE837}"/>
          </ac:spMkLst>
        </pc:spChg>
      </pc:sldChg>
      <pc:sldChg chg="addSp delSp modSp add mod ord">
        <pc:chgData name="IHADDADENE, Mohamed" userId="e01a991b-5a35-468b-af4c-bfe3aed91b77" providerId="ADAL" clId="{482B38D3-C914-4A34-B877-0B22FDA5E7EA}" dt="2022-02-27T23:40:26.130" v="7140" actId="1035"/>
        <pc:sldMkLst>
          <pc:docMk/>
          <pc:sldMk cId="1634668830" sldId="2147229470"/>
        </pc:sldMkLst>
        <pc:spChg chg="mod">
          <ac:chgData name="IHADDADENE, Mohamed" userId="e01a991b-5a35-468b-af4c-bfe3aed91b77" providerId="ADAL" clId="{482B38D3-C914-4A34-B877-0B22FDA5E7EA}" dt="2022-02-27T22:58:08.736" v="7124"/>
          <ac:spMkLst>
            <pc:docMk/>
            <pc:sldMk cId="1634668830" sldId="2147229470"/>
            <ac:spMk id="8" creationId="{3C0BE979-B0BF-477E-8C4A-17FB5793C8F7}"/>
          </ac:spMkLst>
        </pc:spChg>
        <pc:spChg chg="add del mod">
          <ac:chgData name="IHADDADENE, Mohamed" userId="e01a991b-5a35-468b-af4c-bfe3aed91b77" providerId="ADAL" clId="{482B38D3-C914-4A34-B877-0B22FDA5E7EA}" dt="2022-02-27T23:40:26.130" v="7140" actId="1035"/>
          <ac:spMkLst>
            <pc:docMk/>
            <pc:sldMk cId="1634668830" sldId="2147229470"/>
            <ac:spMk id="11" creationId="{0DD5092F-AA96-9345-9B21-03339BCCE837}"/>
          </ac:spMkLst>
        </pc:spChg>
        <pc:spChg chg="add del mod">
          <ac:chgData name="IHADDADENE, Mohamed" userId="e01a991b-5a35-468b-af4c-bfe3aed91b77" providerId="ADAL" clId="{482B38D3-C914-4A34-B877-0B22FDA5E7EA}" dt="2022-02-25T13:35:40.946" v="1587"/>
          <ac:spMkLst>
            <pc:docMk/>
            <pc:sldMk cId="1634668830" sldId="2147229470"/>
            <ac:spMk id="12" creationId="{95E09D0A-EF7A-4226-A14B-9BA44361E112}"/>
          </ac:spMkLst>
        </pc:spChg>
      </pc:sldChg>
      <pc:sldChg chg="modSp add mod ord">
        <pc:chgData name="IHADDADENE, Mohamed" userId="e01a991b-5a35-468b-af4c-bfe3aed91b77" providerId="ADAL" clId="{482B38D3-C914-4A34-B877-0B22FDA5E7EA}" dt="2022-02-27T22:57:09.446" v="7106" actId="1036"/>
        <pc:sldMkLst>
          <pc:docMk/>
          <pc:sldMk cId="1812937726" sldId="2147229471"/>
        </pc:sldMkLst>
        <pc:spChg chg="mod">
          <ac:chgData name="IHADDADENE, Mohamed" userId="e01a991b-5a35-468b-af4c-bfe3aed91b77" providerId="ADAL" clId="{482B38D3-C914-4A34-B877-0B22FDA5E7EA}" dt="2022-02-27T22:57:02.267" v="7076" actId="20577"/>
          <ac:spMkLst>
            <pc:docMk/>
            <pc:sldMk cId="1812937726" sldId="2147229471"/>
            <ac:spMk id="8" creationId="{3C0BE979-B0BF-477E-8C4A-17FB5793C8F7}"/>
          </ac:spMkLst>
        </pc:spChg>
        <pc:spChg chg="mod">
          <ac:chgData name="IHADDADENE, Mohamed" userId="e01a991b-5a35-468b-af4c-bfe3aed91b77" providerId="ADAL" clId="{482B38D3-C914-4A34-B877-0B22FDA5E7EA}" dt="2022-02-27T22:57:09.446" v="7106" actId="1036"/>
          <ac:spMkLst>
            <pc:docMk/>
            <pc:sldMk cId="1812937726" sldId="2147229471"/>
            <ac:spMk id="11" creationId="{0DD5092F-AA96-9345-9B21-03339BCCE837}"/>
          </ac:spMkLst>
        </pc:spChg>
      </pc:sldChg>
      <pc:sldChg chg="addSp delSp modSp add mod ord">
        <pc:chgData name="IHADDADENE, Mohamed" userId="e01a991b-5a35-468b-af4c-bfe3aed91b77" providerId="ADAL" clId="{482B38D3-C914-4A34-B877-0B22FDA5E7EA}" dt="2022-02-27T22:57:29.871" v="7121" actId="20577"/>
        <pc:sldMkLst>
          <pc:docMk/>
          <pc:sldMk cId="3996595819" sldId="2147229472"/>
        </pc:sldMkLst>
        <pc:spChg chg="mod">
          <ac:chgData name="IHADDADENE, Mohamed" userId="e01a991b-5a35-468b-af4c-bfe3aed91b77" providerId="ADAL" clId="{482B38D3-C914-4A34-B877-0B22FDA5E7EA}" dt="2022-02-27T22:57:29.871" v="7121" actId="20577"/>
          <ac:spMkLst>
            <pc:docMk/>
            <pc:sldMk cId="3996595819" sldId="2147229472"/>
            <ac:spMk id="8" creationId="{3C0BE979-B0BF-477E-8C4A-17FB5793C8F7}"/>
          </ac:spMkLst>
        </pc:spChg>
        <pc:spChg chg="del">
          <ac:chgData name="IHADDADENE, Mohamed" userId="e01a991b-5a35-468b-af4c-bfe3aed91b77" providerId="ADAL" clId="{482B38D3-C914-4A34-B877-0B22FDA5E7EA}" dt="2022-02-25T13:36:44.362" v="1640" actId="478"/>
          <ac:spMkLst>
            <pc:docMk/>
            <pc:sldMk cId="3996595819" sldId="2147229472"/>
            <ac:spMk id="11" creationId="{0DD5092F-AA96-9345-9B21-03339BCCE837}"/>
          </ac:spMkLst>
        </pc:spChg>
        <pc:spChg chg="add mod">
          <ac:chgData name="IHADDADENE, Mohamed" userId="e01a991b-5a35-468b-af4c-bfe3aed91b77" providerId="ADAL" clId="{482B38D3-C914-4A34-B877-0B22FDA5E7EA}" dt="2022-02-27T22:17:42.661" v="6370" actId="1035"/>
          <ac:spMkLst>
            <pc:docMk/>
            <pc:sldMk cId="3996595819" sldId="2147229472"/>
            <ac:spMk id="12" creationId="{EB80AD7D-A1F7-4E86-986D-D1AD80933E73}"/>
          </ac:spMkLst>
        </pc:spChg>
      </pc:sldChg>
      <pc:sldChg chg="addSp delSp modSp add mod">
        <pc:chgData name="IHADDADENE, Mohamed" userId="e01a991b-5a35-468b-af4c-bfe3aed91b77" providerId="ADAL" clId="{482B38D3-C914-4A34-B877-0B22FDA5E7EA}" dt="2022-02-27T22:17:17.094" v="6359" actId="207"/>
        <pc:sldMkLst>
          <pc:docMk/>
          <pc:sldMk cId="1995903243" sldId="2147229473"/>
        </pc:sldMkLst>
        <pc:spChg chg="del">
          <ac:chgData name="IHADDADENE, Mohamed" userId="e01a991b-5a35-468b-af4c-bfe3aed91b77" providerId="ADAL" clId="{482B38D3-C914-4A34-B877-0B22FDA5E7EA}" dt="2022-02-25T13:37:53.487" v="1727" actId="478"/>
          <ac:spMkLst>
            <pc:docMk/>
            <pc:sldMk cId="1995903243" sldId="2147229473"/>
            <ac:spMk id="7" creationId="{97B9017D-0426-439E-BF1D-839B41492947}"/>
          </ac:spMkLst>
        </pc:spChg>
        <pc:spChg chg="mod">
          <ac:chgData name="IHADDADENE, Mohamed" userId="e01a991b-5a35-468b-af4c-bfe3aed91b77" providerId="ADAL" clId="{482B38D3-C914-4A34-B877-0B22FDA5E7EA}" dt="2022-02-27T22:17:17.094" v="6359" actId="207"/>
          <ac:spMkLst>
            <pc:docMk/>
            <pc:sldMk cId="1995903243" sldId="2147229473"/>
            <ac:spMk id="8" creationId="{3C0BE979-B0BF-477E-8C4A-17FB5793C8F7}"/>
          </ac:spMkLst>
        </pc:spChg>
        <pc:spChg chg="add del">
          <ac:chgData name="IHADDADENE, Mohamed" userId="e01a991b-5a35-468b-af4c-bfe3aed91b77" providerId="ADAL" clId="{482B38D3-C914-4A34-B877-0B22FDA5E7EA}" dt="2022-02-25T13:37:33.899" v="1714" actId="478"/>
          <ac:spMkLst>
            <pc:docMk/>
            <pc:sldMk cId="1995903243" sldId="2147229473"/>
            <ac:spMk id="12" creationId="{EB80AD7D-A1F7-4E86-986D-D1AD80933E73}"/>
          </ac:spMkLst>
        </pc:spChg>
        <pc:grpChg chg="add del">
          <ac:chgData name="IHADDADENE, Mohamed" userId="e01a991b-5a35-468b-af4c-bfe3aed91b77" providerId="ADAL" clId="{482B38D3-C914-4A34-B877-0B22FDA5E7EA}" dt="2022-02-25T13:37:31.338" v="1713" actId="478"/>
          <ac:grpSpMkLst>
            <pc:docMk/>
            <pc:sldMk cId="1995903243" sldId="2147229473"/>
            <ac:grpSpMk id="10" creationId="{6054F015-AA7D-439A-B2F5-C0BDDA7D93A1}"/>
          </ac:grpSpMkLst>
        </pc:grpChg>
      </pc:sldChg>
      <pc:sldChg chg="addSp delSp modSp add mod ord modNotesTx">
        <pc:chgData name="IHADDADENE, Mohamed" userId="e01a991b-5a35-468b-af4c-bfe3aed91b77" providerId="ADAL" clId="{482B38D3-C914-4A34-B877-0B22FDA5E7EA}" dt="2022-02-28T08:21:44.241" v="7838" actId="20577"/>
        <pc:sldMkLst>
          <pc:docMk/>
          <pc:sldMk cId="1281981869" sldId="2147229474"/>
        </pc:sldMkLst>
        <pc:spChg chg="add del mod">
          <ac:chgData name="IHADDADENE, Mohamed" userId="e01a991b-5a35-468b-af4c-bfe3aed91b77" providerId="ADAL" clId="{482B38D3-C914-4A34-B877-0B22FDA5E7EA}" dt="2022-02-27T22:25:55.088" v="6399" actId="478"/>
          <ac:spMkLst>
            <pc:docMk/>
            <pc:sldMk cId="1281981869" sldId="2147229474"/>
            <ac:spMk id="2" creationId="{B4686C3D-AF66-49F2-B083-FF63CAA39E37}"/>
          </ac:spMkLst>
        </pc:spChg>
        <pc:spChg chg="add mod">
          <ac:chgData name="IHADDADENE, Mohamed" userId="e01a991b-5a35-468b-af4c-bfe3aed91b77" providerId="ADAL" clId="{482B38D3-C914-4A34-B877-0B22FDA5E7EA}" dt="2022-02-27T22:27:47.045" v="6421" actId="14100"/>
          <ac:spMkLst>
            <pc:docMk/>
            <pc:sldMk cId="1281981869" sldId="2147229474"/>
            <ac:spMk id="4" creationId="{70A47EF6-6D02-4F76-93B5-0D8B84CF64E6}"/>
          </ac:spMkLst>
        </pc:spChg>
        <pc:spChg chg="add mod">
          <ac:chgData name="IHADDADENE, Mohamed" userId="e01a991b-5a35-468b-af4c-bfe3aed91b77" providerId="ADAL" clId="{482B38D3-C914-4A34-B877-0B22FDA5E7EA}" dt="2022-02-27T22:21:10.041" v="6375" actId="207"/>
          <ac:spMkLst>
            <pc:docMk/>
            <pc:sldMk cId="1281981869" sldId="2147229474"/>
            <ac:spMk id="5" creationId="{A0A00C16-FC25-489F-92E3-212E5C38389A}"/>
          </ac:spMkLst>
        </pc:spChg>
        <pc:spChg chg="add mod">
          <ac:chgData name="IHADDADENE, Mohamed" userId="e01a991b-5a35-468b-af4c-bfe3aed91b77" providerId="ADAL" clId="{482B38D3-C914-4A34-B877-0B22FDA5E7EA}" dt="2022-02-27T22:32:20.464" v="6487" actId="1076"/>
          <ac:spMkLst>
            <pc:docMk/>
            <pc:sldMk cId="1281981869" sldId="2147229474"/>
            <ac:spMk id="6" creationId="{7BCEF7AE-07CA-45F2-B1E8-A6B0BBAA6CDD}"/>
          </ac:spMkLst>
        </pc:spChg>
        <pc:spChg chg="add mod">
          <ac:chgData name="IHADDADENE, Mohamed" userId="e01a991b-5a35-468b-af4c-bfe3aed91b77" providerId="ADAL" clId="{482B38D3-C914-4A34-B877-0B22FDA5E7EA}" dt="2022-02-27T22:21:29.146" v="6376" actId="207"/>
          <ac:spMkLst>
            <pc:docMk/>
            <pc:sldMk cId="1281981869" sldId="2147229474"/>
            <ac:spMk id="7" creationId="{90934388-F6A0-4B40-8757-ABAB63EA85BB}"/>
          </ac:spMkLst>
        </pc:spChg>
        <pc:spChg chg="add mod">
          <ac:chgData name="IHADDADENE, Mohamed" userId="e01a991b-5a35-468b-af4c-bfe3aed91b77" providerId="ADAL" clId="{482B38D3-C914-4A34-B877-0B22FDA5E7EA}" dt="2022-02-27T22:24:46.674" v="6390" actId="207"/>
          <ac:spMkLst>
            <pc:docMk/>
            <pc:sldMk cId="1281981869" sldId="2147229474"/>
            <ac:spMk id="9" creationId="{6E610C4F-9CA0-4CE9-9BCC-AE3AE6F0EB0D}"/>
          </ac:spMkLst>
        </pc:spChg>
        <pc:spChg chg="add mod">
          <ac:chgData name="IHADDADENE, Mohamed" userId="e01a991b-5a35-468b-af4c-bfe3aed91b77" providerId="ADAL" clId="{482B38D3-C914-4A34-B877-0B22FDA5E7EA}" dt="2022-02-28T08:21:44.241" v="7838" actId="20577"/>
          <ac:spMkLst>
            <pc:docMk/>
            <pc:sldMk cId="1281981869" sldId="2147229474"/>
            <ac:spMk id="10" creationId="{06FB123C-F17C-4B28-AC22-94C1A2A12BB8}"/>
          </ac:spMkLst>
        </pc:spChg>
        <pc:spChg chg="add mod">
          <ac:chgData name="IHADDADENE, Mohamed" userId="e01a991b-5a35-468b-af4c-bfe3aed91b77" providerId="ADAL" clId="{482B38D3-C914-4A34-B877-0B22FDA5E7EA}" dt="2022-02-27T22:25:31.615" v="6397" actId="208"/>
          <ac:spMkLst>
            <pc:docMk/>
            <pc:sldMk cId="1281981869" sldId="2147229474"/>
            <ac:spMk id="12" creationId="{68B8E3C0-772F-476B-A6E6-4756233A62C4}"/>
          </ac:spMkLst>
        </pc:spChg>
        <pc:spChg chg="add mod">
          <ac:chgData name="IHADDADENE, Mohamed" userId="e01a991b-5a35-468b-af4c-bfe3aed91b77" providerId="ADAL" clId="{482B38D3-C914-4A34-B877-0B22FDA5E7EA}" dt="2022-02-27T22:24:50.076" v="6391" actId="207"/>
          <ac:spMkLst>
            <pc:docMk/>
            <pc:sldMk cId="1281981869" sldId="2147229474"/>
            <ac:spMk id="15" creationId="{47B45057-5814-4DC1-98C8-3EE1E4CF8800}"/>
          </ac:spMkLst>
        </pc:spChg>
        <pc:spChg chg="add mod">
          <ac:chgData name="IHADDADENE, Mohamed" userId="e01a991b-5a35-468b-af4c-bfe3aed91b77" providerId="ADAL" clId="{482B38D3-C914-4A34-B877-0B22FDA5E7EA}" dt="2022-02-27T22:25:31.615" v="6397" actId="208"/>
          <ac:spMkLst>
            <pc:docMk/>
            <pc:sldMk cId="1281981869" sldId="2147229474"/>
            <ac:spMk id="17" creationId="{F0CB07E6-0B5C-4404-9321-D57E8DF85C50}"/>
          </ac:spMkLst>
        </pc:spChg>
        <pc:spChg chg="add mod">
          <ac:chgData name="IHADDADENE, Mohamed" userId="e01a991b-5a35-468b-af4c-bfe3aed91b77" providerId="ADAL" clId="{482B38D3-C914-4A34-B877-0B22FDA5E7EA}" dt="2022-02-27T22:24:30.193" v="6386" actId="208"/>
          <ac:spMkLst>
            <pc:docMk/>
            <pc:sldMk cId="1281981869" sldId="2147229474"/>
            <ac:spMk id="21" creationId="{33F39854-D214-4F3B-862B-DD901DE9373A}"/>
          </ac:spMkLst>
        </pc:spChg>
        <pc:spChg chg="add del mod">
          <ac:chgData name="IHADDADENE, Mohamed" userId="e01a991b-5a35-468b-af4c-bfe3aed91b77" providerId="ADAL" clId="{482B38D3-C914-4A34-B877-0B22FDA5E7EA}" dt="2022-02-27T22:28:05.874" v="6428" actId="478"/>
          <ac:spMkLst>
            <pc:docMk/>
            <pc:sldMk cId="1281981869" sldId="2147229474"/>
            <ac:spMk id="23" creationId="{40B02BEF-D0AF-4C94-97AA-DFAD0F42E777}"/>
          </ac:spMkLst>
        </pc:spChg>
        <pc:spChg chg="add del mod">
          <ac:chgData name="IHADDADENE, Mohamed" userId="e01a991b-5a35-468b-af4c-bfe3aed91b77" providerId="ADAL" clId="{482B38D3-C914-4A34-B877-0B22FDA5E7EA}" dt="2022-02-27T22:27:50.377" v="6423" actId="478"/>
          <ac:spMkLst>
            <pc:docMk/>
            <pc:sldMk cId="1281981869" sldId="2147229474"/>
            <ac:spMk id="27" creationId="{D5F65B63-6487-4944-985D-062772999B8A}"/>
          </ac:spMkLst>
        </pc:spChg>
        <pc:spChg chg="add del mod">
          <ac:chgData name="IHADDADENE, Mohamed" userId="e01a991b-5a35-468b-af4c-bfe3aed91b77" providerId="ADAL" clId="{482B38D3-C914-4A34-B877-0B22FDA5E7EA}" dt="2022-02-27T22:27:53.434" v="6424" actId="478"/>
          <ac:spMkLst>
            <pc:docMk/>
            <pc:sldMk cId="1281981869" sldId="2147229474"/>
            <ac:spMk id="29" creationId="{5E7EC555-CCAF-420D-9613-17570300EA21}"/>
          </ac:spMkLst>
        </pc:spChg>
        <pc:spChg chg="add mod">
          <ac:chgData name="IHADDADENE, Mohamed" userId="e01a991b-5a35-468b-af4c-bfe3aed91b77" providerId="ADAL" clId="{482B38D3-C914-4A34-B877-0B22FDA5E7EA}" dt="2022-02-27T22:20:24.503" v="6373"/>
          <ac:spMkLst>
            <pc:docMk/>
            <pc:sldMk cId="1281981869" sldId="2147229474"/>
            <ac:spMk id="34" creationId="{0CEEF6B1-B97A-4F87-AA39-1237AC0568BD}"/>
          </ac:spMkLst>
        </pc:spChg>
        <pc:spChg chg="add mod">
          <ac:chgData name="IHADDADENE, Mohamed" userId="e01a991b-5a35-468b-af4c-bfe3aed91b77" providerId="ADAL" clId="{482B38D3-C914-4A34-B877-0B22FDA5E7EA}" dt="2022-02-27T22:20:24.503" v="6373"/>
          <ac:spMkLst>
            <pc:docMk/>
            <pc:sldMk cId="1281981869" sldId="2147229474"/>
            <ac:spMk id="35" creationId="{2C84AEB5-788B-412D-B7BA-C546533A8E8B}"/>
          </ac:spMkLst>
        </pc:spChg>
        <pc:spChg chg="add mod">
          <ac:chgData name="IHADDADENE, Mohamed" userId="e01a991b-5a35-468b-af4c-bfe3aed91b77" providerId="ADAL" clId="{482B38D3-C914-4A34-B877-0B22FDA5E7EA}" dt="2022-02-27T22:20:24.503" v="6373"/>
          <ac:spMkLst>
            <pc:docMk/>
            <pc:sldMk cId="1281981869" sldId="2147229474"/>
            <ac:spMk id="36" creationId="{3227D5D0-EDFB-4D79-97AA-936ADFBAEB3E}"/>
          </ac:spMkLst>
        </pc:spChg>
        <pc:spChg chg="add mod">
          <ac:chgData name="IHADDADENE, Mohamed" userId="e01a991b-5a35-468b-af4c-bfe3aed91b77" providerId="ADAL" clId="{482B38D3-C914-4A34-B877-0B22FDA5E7EA}" dt="2022-02-27T22:20:24.503" v="6373"/>
          <ac:spMkLst>
            <pc:docMk/>
            <pc:sldMk cId="1281981869" sldId="2147229474"/>
            <ac:spMk id="37" creationId="{1664FDA6-8AC6-4899-88FC-2F142DFCD6AC}"/>
          </ac:spMkLst>
        </pc:spChg>
        <pc:spChg chg="add mod">
          <ac:chgData name="IHADDADENE, Mohamed" userId="e01a991b-5a35-468b-af4c-bfe3aed91b77" providerId="ADAL" clId="{482B38D3-C914-4A34-B877-0B22FDA5E7EA}" dt="2022-02-27T22:20:24.503" v="6373"/>
          <ac:spMkLst>
            <pc:docMk/>
            <pc:sldMk cId="1281981869" sldId="2147229474"/>
            <ac:spMk id="38" creationId="{E283B8CC-764C-498D-840C-A0930C404E8F}"/>
          </ac:spMkLst>
        </pc:spChg>
        <pc:spChg chg="add mod">
          <ac:chgData name="IHADDADENE, Mohamed" userId="e01a991b-5a35-468b-af4c-bfe3aed91b77" providerId="ADAL" clId="{482B38D3-C914-4A34-B877-0B22FDA5E7EA}" dt="2022-02-27T22:20:24.503" v="6373"/>
          <ac:spMkLst>
            <pc:docMk/>
            <pc:sldMk cId="1281981869" sldId="2147229474"/>
            <ac:spMk id="39" creationId="{8D96C6B3-3E77-4BAE-A987-AAB7D4BF04DA}"/>
          </ac:spMkLst>
        </pc:spChg>
        <pc:spChg chg="add mod topLvl">
          <ac:chgData name="IHADDADENE, Mohamed" userId="e01a991b-5a35-468b-af4c-bfe3aed91b77" providerId="ADAL" clId="{482B38D3-C914-4A34-B877-0B22FDA5E7EA}" dt="2022-02-27T22:36:54.271" v="6617" actId="1076"/>
          <ac:spMkLst>
            <pc:docMk/>
            <pc:sldMk cId="1281981869" sldId="2147229474"/>
            <ac:spMk id="40" creationId="{635666AC-8671-44FE-850E-0B49765C1A81}"/>
          </ac:spMkLst>
        </pc:spChg>
        <pc:spChg chg="add del mod topLvl">
          <ac:chgData name="IHADDADENE, Mohamed" userId="e01a991b-5a35-468b-af4c-bfe3aed91b77" providerId="ADAL" clId="{482B38D3-C914-4A34-B877-0B22FDA5E7EA}" dt="2022-02-27T22:26:52.159" v="6414" actId="478"/>
          <ac:spMkLst>
            <pc:docMk/>
            <pc:sldMk cId="1281981869" sldId="2147229474"/>
            <ac:spMk id="41" creationId="{C0F057B7-5A30-477A-B082-AA4F580CF6C6}"/>
          </ac:spMkLst>
        </pc:spChg>
        <pc:spChg chg="add mod topLvl">
          <ac:chgData name="IHADDADENE, Mohamed" userId="e01a991b-5a35-468b-af4c-bfe3aed91b77" providerId="ADAL" clId="{482B38D3-C914-4A34-B877-0B22FDA5E7EA}" dt="2022-02-27T22:38:36.119" v="6715" actId="6549"/>
          <ac:spMkLst>
            <pc:docMk/>
            <pc:sldMk cId="1281981869" sldId="2147229474"/>
            <ac:spMk id="42" creationId="{6B6B732C-4913-4100-863C-69C16723FE37}"/>
          </ac:spMkLst>
        </pc:spChg>
        <pc:spChg chg="add del mod topLvl">
          <ac:chgData name="IHADDADENE, Mohamed" userId="e01a991b-5a35-468b-af4c-bfe3aed91b77" providerId="ADAL" clId="{482B38D3-C914-4A34-B877-0B22FDA5E7EA}" dt="2022-02-27T22:32:00.456" v="6484" actId="478"/>
          <ac:spMkLst>
            <pc:docMk/>
            <pc:sldMk cId="1281981869" sldId="2147229474"/>
            <ac:spMk id="43" creationId="{C512A0A6-68EE-4A94-A8A9-B896A8A54077}"/>
          </ac:spMkLst>
        </pc:spChg>
        <pc:spChg chg="add mod topLvl">
          <ac:chgData name="IHADDADENE, Mohamed" userId="e01a991b-5a35-468b-af4c-bfe3aed91b77" providerId="ADAL" clId="{482B38D3-C914-4A34-B877-0B22FDA5E7EA}" dt="2022-02-27T22:35:07.258" v="6582" actId="1036"/>
          <ac:spMkLst>
            <pc:docMk/>
            <pc:sldMk cId="1281981869" sldId="2147229474"/>
            <ac:spMk id="44" creationId="{59906038-47D6-40BF-90A5-2D14F62295CF}"/>
          </ac:spMkLst>
        </pc:spChg>
        <pc:spChg chg="add del mod topLvl">
          <ac:chgData name="IHADDADENE, Mohamed" userId="e01a991b-5a35-468b-af4c-bfe3aed91b77" providerId="ADAL" clId="{482B38D3-C914-4A34-B877-0B22FDA5E7EA}" dt="2022-02-27T22:26:49.438" v="6413" actId="478"/>
          <ac:spMkLst>
            <pc:docMk/>
            <pc:sldMk cId="1281981869" sldId="2147229474"/>
            <ac:spMk id="45" creationId="{17C1B7DA-D61C-44E6-8984-3BE2F394BA38}"/>
          </ac:spMkLst>
        </pc:spChg>
        <pc:spChg chg="add mod topLvl">
          <ac:chgData name="IHADDADENE, Mohamed" userId="e01a991b-5a35-468b-af4c-bfe3aed91b77" providerId="ADAL" clId="{482B38D3-C914-4A34-B877-0B22FDA5E7EA}" dt="2022-02-27T22:38:48.236" v="6719" actId="20577"/>
          <ac:spMkLst>
            <pc:docMk/>
            <pc:sldMk cId="1281981869" sldId="2147229474"/>
            <ac:spMk id="46" creationId="{66F8E856-1480-4AF8-8E4E-5D671F24D54D}"/>
          </ac:spMkLst>
        </pc:spChg>
        <pc:spChg chg="add del mod topLvl">
          <ac:chgData name="IHADDADENE, Mohamed" userId="e01a991b-5a35-468b-af4c-bfe3aed91b77" providerId="ADAL" clId="{482B38D3-C914-4A34-B877-0B22FDA5E7EA}" dt="2022-02-27T22:31:57.275" v="6483" actId="478"/>
          <ac:spMkLst>
            <pc:docMk/>
            <pc:sldMk cId="1281981869" sldId="2147229474"/>
            <ac:spMk id="47" creationId="{8EA9DB79-9731-433B-B984-1CC4CEA10AE3}"/>
          </ac:spMkLst>
        </pc:spChg>
        <pc:spChg chg="add mod topLvl">
          <ac:chgData name="IHADDADENE, Mohamed" userId="e01a991b-5a35-468b-af4c-bfe3aed91b77" providerId="ADAL" clId="{482B38D3-C914-4A34-B877-0B22FDA5E7EA}" dt="2022-02-27T22:34:55.318" v="6573" actId="313"/>
          <ac:spMkLst>
            <pc:docMk/>
            <pc:sldMk cId="1281981869" sldId="2147229474"/>
            <ac:spMk id="48" creationId="{7BA703ED-2E9B-435C-B09C-998808F3C223}"/>
          </ac:spMkLst>
        </pc:spChg>
        <pc:spChg chg="add del mod topLvl">
          <ac:chgData name="IHADDADENE, Mohamed" userId="e01a991b-5a35-468b-af4c-bfe3aed91b77" providerId="ADAL" clId="{482B38D3-C914-4A34-B877-0B22FDA5E7EA}" dt="2022-02-27T22:26:45.766" v="6412" actId="478"/>
          <ac:spMkLst>
            <pc:docMk/>
            <pc:sldMk cId="1281981869" sldId="2147229474"/>
            <ac:spMk id="49" creationId="{48365D93-1224-4790-884F-B4B552E87CEC}"/>
          </ac:spMkLst>
        </pc:spChg>
        <pc:spChg chg="add mod">
          <ac:chgData name="IHADDADENE, Mohamed" userId="e01a991b-5a35-468b-af4c-bfe3aed91b77" providerId="ADAL" clId="{482B38D3-C914-4A34-B877-0B22FDA5E7EA}" dt="2022-02-27T22:37:32.929" v="6640" actId="1035"/>
          <ac:spMkLst>
            <pc:docMk/>
            <pc:sldMk cId="1281981869" sldId="2147229474"/>
            <ac:spMk id="50" creationId="{08432059-C79D-4CA2-B2FC-602556EC348D}"/>
          </ac:spMkLst>
        </pc:spChg>
        <pc:spChg chg="add mod">
          <ac:chgData name="IHADDADENE, Mohamed" userId="e01a991b-5a35-468b-af4c-bfe3aed91b77" providerId="ADAL" clId="{482B38D3-C914-4A34-B877-0B22FDA5E7EA}" dt="2022-02-27T22:38:13.511" v="6713" actId="20577"/>
          <ac:spMkLst>
            <pc:docMk/>
            <pc:sldMk cId="1281981869" sldId="2147229474"/>
            <ac:spMk id="52" creationId="{6293783E-7A82-4BAE-AD97-44FC2621476A}"/>
          </ac:spMkLst>
        </pc:spChg>
        <pc:spChg chg="add mod">
          <ac:chgData name="IHADDADENE, Mohamed" userId="e01a991b-5a35-468b-af4c-bfe3aed91b77" providerId="ADAL" clId="{482B38D3-C914-4A34-B877-0B22FDA5E7EA}" dt="2022-02-27T22:39:09.723" v="6721" actId="571"/>
          <ac:spMkLst>
            <pc:docMk/>
            <pc:sldMk cId="1281981869" sldId="2147229474"/>
            <ac:spMk id="53" creationId="{0650CF01-B860-4B32-B0A1-73A0F6445C44}"/>
          </ac:spMkLst>
        </pc:spChg>
        <pc:spChg chg="add mod">
          <ac:chgData name="IHADDADENE, Mohamed" userId="e01a991b-5a35-468b-af4c-bfe3aed91b77" providerId="ADAL" clId="{482B38D3-C914-4A34-B877-0B22FDA5E7EA}" dt="2022-02-27T22:39:13.145" v="6722" actId="571"/>
          <ac:spMkLst>
            <pc:docMk/>
            <pc:sldMk cId="1281981869" sldId="2147229474"/>
            <ac:spMk id="55" creationId="{8E16398C-807A-4E2A-A92E-ECA84C855CC8}"/>
          </ac:spMkLst>
        </pc:spChg>
        <pc:spChg chg="add mod">
          <ac:chgData name="IHADDADENE, Mohamed" userId="e01a991b-5a35-468b-af4c-bfe3aed91b77" providerId="ADAL" clId="{482B38D3-C914-4A34-B877-0B22FDA5E7EA}" dt="2022-02-27T22:39:42.447" v="6733" actId="20577"/>
          <ac:spMkLst>
            <pc:docMk/>
            <pc:sldMk cId="1281981869" sldId="2147229474"/>
            <ac:spMk id="57" creationId="{CD734F95-AE90-4FC0-9494-85395253B142}"/>
          </ac:spMkLst>
        </pc:spChg>
        <pc:spChg chg="add mod">
          <ac:chgData name="IHADDADENE, Mohamed" userId="e01a991b-5a35-468b-af4c-bfe3aed91b77" providerId="ADAL" clId="{482B38D3-C914-4A34-B877-0B22FDA5E7EA}" dt="2022-02-27T22:39:46.782" v="6736" actId="20577"/>
          <ac:spMkLst>
            <pc:docMk/>
            <pc:sldMk cId="1281981869" sldId="2147229474"/>
            <ac:spMk id="58" creationId="{B696A4BB-2A04-4B40-9119-2523FDF98244}"/>
          </ac:spMkLst>
        </pc:spChg>
        <pc:spChg chg="del">
          <ac:chgData name="IHADDADENE, Mohamed" userId="e01a991b-5a35-468b-af4c-bfe3aed91b77" providerId="ADAL" clId="{482B38D3-C914-4A34-B877-0B22FDA5E7EA}" dt="2022-02-25T15:02:42.940" v="3181" actId="478"/>
          <ac:spMkLst>
            <pc:docMk/>
            <pc:sldMk cId="1281981869" sldId="2147229474"/>
            <ac:spMk id="90" creationId="{9A1F1086-00DD-A345-9D6C-E66AB989D845}"/>
          </ac:spMkLst>
        </pc:spChg>
        <pc:spChg chg="mod">
          <ac:chgData name="IHADDADENE, Mohamed" userId="e01a991b-5a35-468b-af4c-bfe3aed91b77" providerId="ADAL" clId="{482B38D3-C914-4A34-B877-0B22FDA5E7EA}" dt="2022-02-25T13:39:26.983" v="1848" actId="20577"/>
          <ac:spMkLst>
            <pc:docMk/>
            <pc:sldMk cId="1281981869" sldId="2147229474"/>
            <ac:spMk id="983" creationId="{00000000-0000-0000-0000-000000000000}"/>
          </ac:spMkLst>
        </pc:spChg>
        <pc:grpChg chg="add del mod">
          <ac:chgData name="IHADDADENE, Mohamed" userId="e01a991b-5a35-468b-af4c-bfe3aed91b77" providerId="ADAL" clId="{482B38D3-C914-4A34-B877-0B22FDA5E7EA}" dt="2022-02-27T22:26:45.766" v="6412" actId="478"/>
          <ac:grpSpMkLst>
            <pc:docMk/>
            <pc:sldMk cId="1281981869" sldId="2147229474"/>
            <ac:grpSpMk id="10" creationId="{692CD1DB-DD74-4DB3-BA34-5EBF7405E4BF}"/>
          </ac:grpSpMkLst>
        </pc:grpChg>
        <pc:grpChg chg="add del mod">
          <ac:chgData name="IHADDADENE, Mohamed" userId="e01a991b-5a35-468b-af4c-bfe3aed91b77" providerId="ADAL" clId="{482B38D3-C914-4A34-B877-0B22FDA5E7EA}" dt="2022-02-27T22:31:57.275" v="6483" actId="478"/>
          <ac:grpSpMkLst>
            <pc:docMk/>
            <pc:sldMk cId="1281981869" sldId="2147229474"/>
            <ac:grpSpMk id="13" creationId="{2D13C4BD-87E0-4A88-A5F4-A15B8C6A2F79}"/>
          </ac:grpSpMkLst>
        </pc:grpChg>
        <pc:grpChg chg="add del mod">
          <ac:chgData name="IHADDADENE, Mohamed" userId="e01a991b-5a35-468b-af4c-bfe3aed91b77" providerId="ADAL" clId="{482B38D3-C914-4A34-B877-0B22FDA5E7EA}" dt="2022-02-27T22:26:49.438" v="6413" actId="478"/>
          <ac:grpSpMkLst>
            <pc:docMk/>
            <pc:sldMk cId="1281981869" sldId="2147229474"/>
            <ac:grpSpMk id="16" creationId="{9502EF54-4266-4B63-B415-EA56E27CE761}"/>
          </ac:grpSpMkLst>
        </pc:grpChg>
        <pc:grpChg chg="add del mod">
          <ac:chgData name="IHADDADENE, Mohamed" userId="e01a991b-5a35-468b-af4c-bfe3aed91b77" providerId="ADAL" clId="{482B38D3-C914-4A34-B877-0B22FDA5E7EA}" dt="2022-02-27T22:32:00.456" v="6484" actId="478"/>
          <ac:grpSpMkLst>
            <pc:docMk/>
            <pc:sldMk cId="1281981869" sldId="2147229474"/>
            <ac:grpSpMk id="19" creationId="{9E132EF1-054C-43D7-BE8C-3204123B23E6}"/>
          </ac:grpSpMkLst>
        </pc:grpChg>
        <pc:grpChg chg="add del mod">
          <ac:chgData name="IHADDADENE, Mohamed" userId="e01a991b-5a35-468b-af4c-bfe3aed91b77" providerId="ADAL" clId="{482B38D3-C914-4A34-B877-0B22FDA5E7EA}" dt="2022-02-27T22:26:52.159" v="6414" actId="478"/>
          <ac:grpSpMkLst>
            <pc:docMk/>
            <pc:sldMk cId="1281981869" sldId="2147229474"/>
            <ac:grpSpMk id="22" creationId="{ECC6AD92-4817-45C7-AC69-D33104FAF680}"/>
          </ac:grpSpMkLst>
        </pc:grpChg>
        <pc:grpChg chg="add del mod">
          <ac:chgData name="IHADDADENE, Mohamed" userId="e01a991b-5a35-468b-af4c-bfe3aed91b77" providerId="ADAL" clId="{482B38D3-C914-4A34-B877-0B22FDA5E7EA}" dt="2022-02-27T22:28:00.343" v="6426" actId="478"/>
          <ac:grpSpMkLst>
            <pc:docMk/>
            <pc:sldMk cId="1281981869" sldId="2147229474"/>
            <ac:grpSpMk id="25" creationId="{6C9EDC30-F22B-4266-AA2B-18463D82539D}"/>
          </ac:grpSpMkLst>
        </pc:grpChg>
        <pc:grpChg chg="add del mod">
          <ac:chgData name="IHADDADENE, Mohamed" userId="e01a991b-5a35-468b-af4c-bfe3aed91b77" providerId="ADAL" clId="{482B38D3-C914-4A34-B877-0B22FDA5E7EA}" dt="2022-02-27T22:26:57.569" v="6415" actId="478"/>
          <ac:grpSpMkLst>
            <pc:docMk/>
            <pc:sldMk cId="1281981869" sldId="2147229474"/>
            <ac:grpSpMk id="28" creationId="{BD8C3C77-C85E-466B-8FDA-060C2208517C}"/>
          </ac:grpSpMkLst>
        </pc:grpChg>
        <pc:grpChg chg="add del mod">
          <ac:chgData name="IHADDADENE, Mohamed" userId="e01a991b-5a35-468b-af4c-bfe3aed91b77" providerId="ADAL" clId="{482B38D3-C914-4A34-B877-0B22FDA5E7EA}" dt="2022-02-27T22:28:03.454" v="6427" actId="478"/>
          <ac:grpSpMkLst>
            <pc:docMk/>
            <pc:sldMk cId="1281981869" sldId="2147229474"/>
            <ac:grpSpMk id="31" creationId="{8AEADE77-E609-4747-8EAC-56E14B5A83F6}"/>
          </ac:grpSpMkLst>
        </pc:grpChg>
        <pc:picChg chg="add mod">
          <ac:chgData name="IHADDADENE, Mohamed" userId="e01a991b-5a35-468b-af4c-bfe3aed91b77" providerId="ADAL" clId="{482B38D3-C914-4A34-B877-0B22FDA5E7EA}" dt="2022-02-28T08:18:18.091" v="7743" actId="207"/>
          <ac:picMkLst>
            <pc:docMk/>
            <pc:sldMk cId="1281981869" sldId="2147229474"/>
            <ac:picMk id="3" creationId="{53D139F2-D4F5-4B94-AB7F-CC46D209DCD2}"/>
          </ac:picMkLst>
        </pc:picChg>
        <pc:picChg chg="add mod">
          <ac:chgData name="IHADDADENE, Mohamed" userId="e01a991b-5a35-468b-af4c-bfe3aed91b77" providerId="ADAL" clId="{482B38D3-C914-4A34-B877-0B22FDA5E7EA}" dt="2022-02-27T22:20:24.503" v="6373"/>
          <ac:picMkLst>
            <pc:docMk/>
            <pc:sldMk cId="1281981869" sldId="2147229474"/>
            <ac:picMk id="8" creationId="{B5F100F0-FEA0-4D1F-81B1-24DCAB308356}"/>
          </ac:picMkLst>
        </pc:picChg>
        <pc:picChg chg="add mod">
          <ac:chgData name="IHADDADENE, Mohamed" userId="e01a991b-5a35-468b-af4c-bfe3aed91b77" providerId="ADAL" clId="{482B38D3-C914-4A34-B877-0B22FDA5E7EA}" dt="2022-02-27T22:23:50.536" v="6380" actId="207"/>
          <ac:picMkLst>
            <pc:docMk/>
            <pc:sldMk cId="1281981869" sldId="2147229474"/>
            <ac:picMk id="11" creationId="{2D78B5EA-1E1B-4CC3-B46A-359353E9C713}"/>
          </ac:picMkLst>
        </pc:picChg>
        <pc:picChg chg="add mod">
          <ac:chgData name="IHADDADENE, Mohamed" userId="e01a991b-5a35-468b-af4c-bfe3aed91b77" providerId="ADAL" clId="{482B38D3-C914-4A34-B877-0B22FDA5E7EA}" dt="2022-02-27T22:25:31.615" v="6397" actId="208"/>
          <ac:picMkLst>
            <pc:docMk/>
            <pc:sldMk cId="1281981869" sldId="2147229474"/>
            <ac:picMk id="14" creationId="{F4E293B2-FD90-4D33-9201-E3E04888578E}"/>
          </ac:picMkLst>
        </pc:picChg>
        <pc:picChg chg="add mod">
          <ac:chgData name="IHADDADENE, Mohamed" userId="e01a991b-5a35-468b-af4c-bfe3aed91b77" providerId="ADAL" clId="{482B38D3-C914-4A34-B877-0B22FDA5E7EA}" dt="2022-02-27T22:25:31.615" v="6397" actId="208"/>
          <ac:picMkLst>
            <pc:docMk/>
            <pc:sldMk cId="1281981869" sldId="2147229474"/>
            <ac:picMk id="18" creationId="{9FDE0E67-2762-4C07-8DF3-B45176E742DD}"/>
          </ac:picMkLst>
        </pc:picChg>
        <pc:picChg chg="add mod">
          <ac:chgData name="IHADDADENE, Mohamed" userId="e01a991b-5a35-468b-af4c-bfe3aed91b77" providerId="ADAL" clId="{482B38D3-C914-4A34-B877-0B22FDA5E7EA}" dt="2022-02-27T22:24:03.639" v="6381" actId="207"/>
          <ac:picMkLst>
            <pc:docMk/>
            <pc:sldMk cId="1281981869" sldId="2147229474"/>
            <ac:picMk id="20" creationId="{37022CD9-6C23-454E-B191-F3A485437318}"/>
          </ac:picMkLst>
        </pc:picChg>
        <pc:picChg chg="add del mod">
          <ac:chgData name="IHADDADENE, Mohamed" userId="e01a991b-5a35-468b-af4c-bfe3aed91b77" providerId="ADAL" clId="{482B38D3-C914-4A34-B877-0B22FDA5E7EA}" dt="2022-02-27T22:28:07.548" v="6429" actId="478"/>
          <ac:picMkLst>
            <pc:docMk/>
            <pc:sldMk cId="1281981869" sldId="2147229474"/>
            <ac:picMk id="24" creationId="{DDA594FF-4454-4B61-8B1E-2CBEDC0366F1}"/>
          </ac:picMkLst>
        </pc:picChg>
        <pc:picChg chg="add mod">
          <ac:chgData name="IHADDADENE, Mohamed" userId="e01a991b-5a35-468b-af4c-bfe3aed91b77" providerId="ADAL" clId="{482B38D3-C914-4A34-B877-0B22FDA5E7EA}" dt="2022-02-27T22:24:10.143" v="6383" actId="207"/>
          <ac:picMkLst>
            <pc:docMk/>
            <pc:sldMk cId="1281981869" sldId="2147229474"/>
            <ac:picMk id="26" creationId="{AC4F5543-3AA3-4281-8033-AA71AAA15BA4}"/>
          </ac:picMkLst>
        </pc:picChg>
        <pc:picChg chg="add del mod">
          <ac:chgData name="IHADDADENE, Mohamed" userId="e01a991b-5a35-468b-af4c-bfe3aed91b77" providerId="ADAL" clId="{482B38D3-C914-4A34-B877-0B22FDA5E7EA}" dt="2022-02-27T22:27:55.156" v="6425" actId="478"/>
          <ac:picMkLst>
            <pc:docMk/>
            <pc:sldMk cId="1281981869" sldId="2147229474"/>
            <ac:picMk id="30" creationId="{F4CAD2C7-094F-420A-ADF5-D47AD29F2169}"/>
          </ac:picMkLst>
        </pc:picChg>
        <pc:picChg chg="add del mod">
          <ac:chgData name="IHADDADENE, Mohamed" userId="e01a991b-5a35-468b-af4c-bfe3aed91b77" providerId="ADAL" clId="{482B38D3-C914-4A34-B877-0B22FDA5E7EA}" dt="2022-02-27T22:26:59.413" v="6416" actId="478"/>
          <ac:picMkLst>
            <pc:docMk/>
            <pc:sldMk cId="1281981869" sldId="2147229474"/>
            <ac:picMk id="32" creationId="{D759BF80-7F55-4ECF-AFBC-B5B7EDC42E2F}"/>
          </ac:picMkLst>
        </pc:picChg>
        <pc:picChg chg="add mod">
          <ac:chgData name="IHADDADENE, Mohamed" userId="e01a991b-5a35-468b-af4c-bfe3aed91b77" providerId="ADAL" clId="{482B38D3-C914-4A34-B877-0B22FDA5E7EA}" dt="2022-02-27T22:20:24.503" v="6373"/>
          <ac:picMkLst>
            <pc:docMk/>
            <pc:sldMk cId="1281981869" sldId="2147229474"/>
            <ac:picMk id="33" creationId="{35DB8638-A5F7-453C-AA0F-26AF6BAFF837}"/>
          </ac:picMkLst>
        </pc:picChg>
        <pc:picChg chg="add mod">
          <ac:chgData name="IHADDADENE, Mohamed" userId="e01a991b-5a35-468b-af4c-bfe3aed91b77" providerId="ADAL" clId="{482B38D3-C914-4A34-B877-0B22FDA5E7EA}" dt="2022-02-27T22:37:32.929" v="6640" actId="1035"/>
          <ac:picMkLst>
            <pc:docMk/>
            <pc:sldMk cId="1281981869" sldId="2147229474"/>
            <ac:picMk id="51" creationId="{49143CEB-F16A-44BB-B0C6-92A0993A24E3}"/>
          </ac:picMkLst>
        </pc:picChg>
        <pc:picChg chg="add mod">
          <ac:chgData name="IHADDADENE, Mohamed" userId="e01a991b-5a35-468b-af4c-bfe3aed91b77" providerId="ADAL" clId="{482B38D3-C914-4A34-B877-0B22FDA5E7EA}" dt="2022-02-27T22:39:09.723" v="6721" actId="571"/>
          <ac:picMkLst>
            <pc:docMk/>
            <pc:sldMk cId="1281981869" sldId="2147229474"/>
            <ac:picMk id="54" creationId="{3659036D-6176-48E9-849E-91C0C3CB4750}"/>
          </ac:picMkLst>
        </pc:picChg>
        <pc:picChg chg="add mod">
          <ac:chgData name="IHADDADENE, Mohamed" userId="e01a991b-5a35-468b-af4c-bfe3aed91b77" providerId="ADAL" clId="{482B38D3-C914-4A34-B877-0B22FDA5E7EA}" dt="2022-02-27T22:39:13.145" v="6722" actId="571"/>
          <ac:picMkLst>
            <pc:docMk/>
            <pc:sldMk cId="1281981869" sldId="2147229474"/>
            <ac:picMk id="56" creationId="{F3E17D63-AA0D-4094-9518-008F8F76D63D}"/>
          </ac:picMkLst>
        </pc:picChg>
      </pc:sldChg>
      <pc:sldMasterChg chg="delSldLayout">
        <pc:chgData name="IHADDADENE, Mohamed" userId="e01a991b-5a35-468b-af4c-bfe3aed91b77" providerId="ADAL" clId="{482B38D3-C914-4A34-B877-0B22FDA5E7EA}" dt="2022-02-27T22:47:01.583" v="6753" actId="47"/>
        <pc:sldMasterMkLst>
          <pc:docMk/>
          <pc:sldMasterMk cId="938901486" sldId="2147483660"/>
        </pc:sldMasterMkLst>
        <pc:sldLayoutChg chg="del">
          <pc:chgData name="IHADDADENE, Mohamed" userId="e01a991b-5a35-468b-af4c-bfe3aed91b77" providerId="ADAL" clId="{482B38D3-C914-4A34-B877-0B22FDA5E7EA}" dt="2022-02-27T22:47:01.583" v="6753" actId="47"/>
          <pc:sldLayoutMkLst>
            <pc:docMk/>
            <pc:sldMasterMk cId="938901486" sldId="2147483660"/>
            <pc:sldLayoutMk cId="1129909171" sldId="2147483717"/>
          </pc:sldLayoutMkLst>
        </pc:sldLayoutChg>
      </pc:sldMasterChg>
    </pc:docChg>
  </pc:docChgLst>
  <pc:docChgLst>
    <pc:chgData name="IHADDADENE, Mohamed" userId="S::mohamed.ihaddadene@capgemini.com::e01a991b-5a35-468b-af4c-bfe3aed91b77" providerId="AD" clId="Web-{8B08737A-DD27-4FA8-A78D-7ABBCB3B711D}"/>
    <pc:docChg chg="modSld">
      <pc:chgData name="IHADDADENE, Mohamed" userId="S::mohamed.ihaddadene@capgemini.com::e01a991b-5a35-468b-af4c-bfe3aed91b77" providerId="AD" clId="Web-{8B08737A-DD27-4FA8-A78D-7ABBCB3B711D}" dt="2022-02-25T17:30:35.015" v="27" actId="20577"/>
      <pc:docMkLst>
        <pc:docMk/>
      </pc:docMkLst>
      <pc:sldChg chg="modSp">
        <pc:chgData name="IHADDADENE, Mohamed" userId="S::mohamed.ihaddadene@capgemini.com::e01a991b-5a35-468b-af4c-bfe3aed91b77" providerId="AD" clId="Web-{8B08737A-DD27-4FA8-A78D-7ABBCB3B711D}" dt="2022-02-25T17:30:35.015" v="27" actId="20577"/>
        <pc:sldMkLst>
          <pc:docMk/>
          <pc:sldMk cId="1995903243" sldId="2147229473"/>
        </pc:sldMkLst>
        <pc:spChg chg="mod">
          <ac:chgData name="IHADDADENE, Mohamed" userId="S::mohamed.ihaddadene@capgemini.com::e01a991b-5a35-468b-af4c-bfe3aed91b77" providerId="AD" clId="Web-{8B08737A-DD27-4FA8-A78D-7ABBCB3B711D}" dt="2022-02-25T17:30:35.015" v="27" actId="20577"/>
          <ac:spMkLst>
            <pc:docMk/>
            <pc:sldMk cId="1995903243" sldId="2147229473"/>
            <ac:spMk id="8" creationId="{3C0BE979-B0BF-477E-8C4A-17FB5793C8F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3D4550-A252-4D39-B8F5-54D03C95E54D}" type="datetimeFigureOut">
              <a:rPr lang="fr-FR" smtClean="0"/>
              <a:t>19/09/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0CB4E9-2A62-40DB-B167-140429DE26D3}" type="slidenum">
              <a:rPr lang="fr-FR" smtClean="0"/>
              <a:t>‹#›</a:t>
            </a:fld>
            <a:endParaRPr lang="fr-FR"/>
          </a:p>
        </p:txBody>
      </p:sp>
    </p:spTree>
    <p:extLst>
      <p:ext uri="{BB962C8B-B14F-4D97-AF65-F5344CB8AC3E}">
        <p14:creationId xmlns:p14="http://schemas.microsoft.com/office/powerpoint/2010/main" val="908158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a:t>
            </a:fld>
            <a:endParaRPr lang="fr-FR"/>
          </a:p>
        </p:txBody>
      </p:sp>
    </p:spTree>
    <p:extLst>
      <p:ext uri="{BB962C8B-B14F-4D97-AF65-F5344CB8AC3E}">
        <p14:creationId xmlns:p14="http://schemas.microsoft.com/office/powerpoint/2010/main" val="27083443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2</a:t>
            </a:fld>
            <a:endParaRPr lang="fr-FR"/>
          </a:p>
        </p:txBody>
      </p:sp>
    </p:spTree>
    <p:extLst>
      <p:ext uri="{BB962C8B-B14F-4D97-AF65-F5344CB8AC3E}">
        <p14:creationId xmlns:p14="http://schemas.microsoft.com/office/powerpoint/2010/main" val="499292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a:p>
            <a:pPr marL="171450" indent="-171450">
              <a:buFontTx/>
              <a:buChar char="-"/>
            </a:pPr>
            <a:r>
              <a:rPr lang="fr-FR" dirty="0"/>
              <a:t>Une approche en deux étapes :</a:t>
            </a:r>
          </a:p>
          <a:p>
            <a:pPr marL="628650" lvl="1" indent="-171450">
              <a:buFontTx/>
              <a:buChar char="-"/>
            </a:pPr>
            <a:r>
              <a:rPr lang="fr-FR" dirty="0"/>
              <a:t>Une partie </a:t>
            </a:r>
            <a:r>
              <a:rPr lang="fr-FR" dirty="0" err="1"/>
              <a:t>detection</a:t>
            </a:r>
            <a:r>
              <a:rPr lang="fr-FR" dirty="0"/>
              <a:t> avec un YOLO simplifié ( décrire le </a:t>
            </a:r>
            <a:r>
              <a:rPr lang="fr-FR" dirty="0" err="1"/>
              <a:t>yolo</a:t>
            </a:r>
            <a:r>
              <a:rPr lang="fr-FR" dirty="0"/>
              <a:t> à l’oral )</a:t>
            </a:r>
          </a:p>
          <a:p>
            <a:pPr marL="628650" lvl="1" indent="-171450">
              <a:buFontTx/>
              <a:buChar char="-"/>
            </a:pPr>
            <a:r>
              <a:rPr lang="fr-FR" dirty="0"/>
              <a:t>Une partie identification </a:t>
            </a:r>
          </a:p>
          <a:p>
            <a:pPr marL="1085850" lvl="2" indent="-171450">
              <a:buFontTx/>
              <a:buChar char="-"/>
            </a:pPr>
            <a:r>
              <a:rPr lang="fr-FR" dirty="0"/>
              <a:t>Une fois que le </a:t>
            </a:r>
            <a:r>
              <a:rPr lang="fr-FR" dirty="0" err="1"/>
              <a:t>yolo</a:t>
            </a:r>
            <a:r>
              <a:rPr lang="fr-FR" dirty="0"/>
              <a:t> </a:t>
            </a:r>
            <a:r>
              <a:rPr lang="fr-FR" dirty="0" err="1"/>
              <a:t>detecte</a:t>
            </a:r>
            <a:r>
              <a:rPr lang="fr-FR" dirty="0"/>
              <a:t> une voiture, on le </a:t>
            </a:r>
            <a:r>
              <a:rPr lang="fr-FR" dirty="0" err="1"/>
              <a:t>crop</a:t>
            </a:r>
            <a:r>
              <a:rPr lang="fr-FR" dirty="0"/>
              <a:t> en utilisant les </a:t>
            </a:r>
            <a:r>
              <a:rPr lang="fr-FR" dirty="0" err="1"/>
              <a:t>bbox</a:t>
            </a:r>
            <a:r>
              <a:rPr lang="fr-FR" dirty="0"/>
              <a:t> prédites et on utilise un </a:t>
            </a:r>
            <a:r>
              <a:rPr lang="fr-FR" dirty="0" err="1"/>
              <a:t>algo</a:t>
            </a:r>
            <a:r>
              <a:rPr lang="fr-FR" dirty="0"/>
              <a:t> ORB pour faire un </a:t>
            </a:r>
            <a:r>
              <a:rPr lang="fr-FR" dirty="0" err="1"/>
              <a:t>scoring</a:t>
            </a:r>
            <a:r>
              <a:rPr lang="fr-FR" dirty="0"/>
              <a:t> et prendre le modèle du score max</a:t>
            </a:r>
          </a:p>
          <a:p>
            <a:pPr marL="1085850" lvl="2" indent="-171450">
              <a:buFontTx/>
              <a:buChar char="-"/>
            </a:pPr>
            <a:endParaRPr lang="fr-FR" dirty="0"/>
          </a:p>
          <a:p>
            <a:pPr marL="1085850" lvl="2" indent="-171450">
              <a:buFontTx/>
              <a:buChar char="-"/>
            </a:pPr>
            <a:endParaRPr lang="fr-FR" dirty="0"/>
          </a:p>
          <a:p>
            <a:pPr marL="171450" lvl="0" indent="-171450">
              <a:buFontTx/>
              <a:buChar char="-"/>
            </a:pPr>
            <a:r>
              <a:rPr lang="fr-FR" dirty="0"/>
              <a:t>Des questions ?</a:t>
            </a:r>
          </a:p>
        </p:txBody>
      </p:sp>
      <p:sp>
        <p:nvSpPr>
          <p:cNvPr id="4" name="Slide Number Placeholder 3"/>
          <p:cNvSpPr>
            <a:spLocks noGrp="1"/>
          </p:cNvSpPr>
          <p:nvPr>
            <p:ph type="sldNum" sz="quarter" idx="5"/>
          </p:nvPr>
        </p:nvSpPr>
        <p:spPr/>
        <p:txBody>
          <a:bodyPr/>
          <a:lstStyle/>
          <a:p>
            <a:fld id="{870CB4E9-2A62-40DB-B167-140429DE26D3}" type="slidenum">
              <a:rPr lang="fr-FR" smtClean="0"/>
              <a:t>13</a:t>
            </a:fld>
            <a:endParaRPr lang="fr-FR"/>
          </a:p>
        </p:txBody>
      </p:sp>
    </p:spTree>
    <p:extLst>
      <p:ext uri="{BB962C8B-B14F-4D97-AF65-F5344CB8AC3E}">
        <p14:creationId xmlns:p14="http://schemas.microsoft.com/office/powerpoint/2010/main" val="11462561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4</a:t>
            </a:fld>
            <a:endParaRPr lang="fr-FR"/>
          </a:p>
        </p:txBody>
      </p:sp>
    </p:spTree>
    <p:extLst>
      <p:ext uri="{BB962C8B-B14F-4D97-AF65-F5344CB8AC3E}">
        <p14:creationId xmlns:p14="http://schemas.microsoft.com/office/powerpoint/2010/main" val="26619254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Tx/>
              <a:buChar char="-"/>
            </a:pPr>
            <a:r>
              <a:rPr lang="fr-FR" dirty="0"/>
              <a:t>Nous avons 5 prix décernés  par les 5 mécènes :</a:t>
            </a:r>
          </a:p>
          <a:p>
            <a:pPr marL="628650" lvl="1" indent="-171450">
              <a:buFontTx/>
              <a:buChar char="-"/>
            </a:pPr>
            <a:endParaRPr lang="fr-FR" dirty="0"/>
          </a:p>
          <a:p>
            <a:pPr marL="628650" lvl="1" indent="-171450">
              <a:buFontTx/>
              <a:buChar char="-"/>
            </a:pPr>
            <a:r>
              <a:rPr lang="fr-FR" dirty="0"/>
              <a:t>Le projet qui </a:t>
            </a:r>
          </a:p>
          <a:p>
            <a:pPr marL="1085850" lvl="2" indent="-171450">
              <a:buFontTx/>
              <a:buChar char="-"/>
            </a:pPr>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15</a:t>
            </a:fld>
            <a:endParaRPr lang="fr-FR"/>
          </a:p>
        </p:txBody>
      </p:sp>
    </p:spTree>
    <p:extLst>
      <p:ext uri="{BB962C8B-B14F-4D97-AF65-F5344CB8AC3E}">
        <p14:creationId xmlns:p14="http://schemas.microsoft.com/office/powerpoint/2010/main" val="2270798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3 livrables :</a:t>
            </a:r>
          </a:p>
          <a:p>
            <a:pPr marL="285750" indent="-285750">
              <a:buFontTx/>
              <a:buChar char="-"/>
            </a:pPr>
            <a:r>
              <a:rPr lang="fr-FR" dirty="0"/>
              <a:t>Soumission finale (au format csv)</a:t>
            </a:r>
          </a:p>
          <a:p>
            <a:pPr marL="285750" indent="-285750">
              <a:buFontTx/>
              <a:buChar char="-"/>
            </a:pPr>
            <a:r>
              <a:rPr lang="fr-FR" dirty="0"/>
              <a:t>Dossier scientifique au format md</a:t>
            </a:r>
          </a:p>
          <a:p>
            <a:pPr marL="285750" indent="-285750">
              <a:buFontTx/>
              <a:buChar char="-"/>
            </a:pPr>
            <a:r>
              <a:rPr lang="fr-FR" dirty="0"/>
              <a:t>Pitch business (vidéo de 2 min)</a:t>
            </a:r>
          </a:p>
        </p:txBody>
      </p:sp>
      <p:sp>
        <p:nvSpPr>
          <p:cNvPr id="4" name="Slide Number Placeholder 3"/>
          <p:cNvSpPr>
            <a:spLocks noGrp="1"/>
          </p:cNvSpPr>
          <p:nvPr>
            <p:ph type="sldNum" sz="quarter" idx="5"/>
          </p:nvPr>
        </p:nvSpPr>
        <p:spPr/>
        <p:txBody>
          <a:bodyPr/>
          <a:lstStyle/>
          <a:p>
            <a:fld id="{870CB4E9-2A62-40DB-B167-140429DE26D3}" type="slidenum">
              <a:rPr lang="fr-FR" smtClean="0"/>
              <a:t>16</a:t>
            </a:fld>
            <a:endParaRPr lang="fr-FR"/>
          </a:p>
        </p:txBody>
      </p:sp>
    </p:spTree>
    <p:extLst>
      <p:ext uri="{BB962C8B-B14F-4D97-AF65-F5344CB8AC3E}">
        <p14:creationId xmlns:p14="http://schemas.microsoft.com/office/powerpoint/2010/main" val="2133776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7</a:t>
            </a:fld>
            <a:endParaRPr lang="fr-FR"/>
          </a:p>
        </p:txBody>
      </p:sp>
    </p:spTree>
    <p:extLst>
      <p:ext uri="{BB962C8B-B14F-4D97-AF65-F5344CB8AC3E}">
        <p14:creationId xmlns:p14="http://schemas.microsoft.com/office/powerpoint/2010/main" val="1679774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our répondre à la problématique et aux attendus :</a:t>
            </a:r>
          </a:p>
          <a:p>
            <a:pPr marL="285750" indent="-285750">
              <a:buFontTx/>
              <a:buChar char="-"/>
            </a:pPr>
            <a:r>
              <a:rPr lang="fr-FR" dirty="0"/>
              <a:t>Equipe allant de 3 à 7 personnes</a:t>
            </a:r>
          </a:p>
          <a:p>
            <a:pPr marL="285750" indent="-285750">
              <a:buFontTx/>
              <a:buChar char="-"/>
            </a:pPr>
            <a:r>
              <a:rPr lang="fr-FR" dirty="0"/>
              <a:t>Les participants ont constitué eux-mêmes leur équipe</a:t>
            </a:r>
          </a:p>
          <a:p>
            <a:pPr marL="285750" indent="-285750">
              <a:buFontTx/>
              <a:buChar char="-"/>
            </a:pPr>
            <a:r>
              <a:rPr lang="fr-FR" dirty="0"/>
              <a:t>Nous favorisons la mixité des équipes d’un point de vu compétences et institutions</a:t>
            </a:r>
          </a:p>
          <a:p>
            <a:pPr marL="285750" indent="-285750">
              <a:buFont typeface="Symbol" panose="05050102010706020507" pitchFamily="18" charset="2"/>
              <a:buChar char="Þ"/>
            </a:pPr>
            <a:r>
              <a:rPr lang="fr-FR" dirty="0"/>
              <a:t>On aura des profils orientés DS, DE, et Business</a:t>
            </a:r>
          </a:p>
          <a:p>
            <a:endParaRPr lang="fr-FR" dirty="0"/>
          </a:p>
          <a:p>
            <a:r>
              <a:rPr lang="fr-FR" dirty="0"/>
              <a:t>REX : niveau assez hétérogène d’un point de vue DS</a:t>
            </a:r>
          </a:p>
        </p:txBody>
      </p:sp>
      <p:sp>
        <p:nvSpPr>
          <p:cNvPr id="4" name="Slide Number Placeholder 3"/>
          <p:cNvSpPr>
            <a:spLocks noGrp="1"/>
          </p:cNvSpPr>
          <p:nvPr>
            <p:ph type="sldNum" sz="quarter" idx="5"/>
          </p:nvPr>
        </p:nvSpPr>
        <p:spPr/>
        <p:txBody>
          <a:bodyPr/>
          <a:lstStyle/>
          <a:p>
            <a:fld id="{870CB4E9-2A62-40DB-B167-140429DE26D3}" type="slidenum">
              <a:rPr lang="fr-FR" smtClean="0"/>
              <a:t>18</a:t>
            </a:fld>
            <a:endParaRPr lang="fr-FR"/>
          </a:p>
        </p:txBody>
      </p:sp>
    </p:spTree>
    <p:extLst>
      <p:ext uri="{BB962C8B-B14F-4D97-AF65-F5344CB8AC3E}">
        <p14:creationId xmlns:p14="http://schemas.microsoft.com/office/powerpoint/2010/main" val="3902899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9</a:t>
            </a:fld>
            <a:endParaRPr lang="fr-FR"/>
          </a:p>
        </p:txBody>
      </p:sp>
    </p:spTree>
    <p:extLst>
      <p:ext uri="{BB962C8B-B14F-4D97-AF65-F5344CB8AC3E}">
        <p14:creationId xmlns:p14="http://schemas.microsoft.com/office/powerpoint/2010/main" val="3895335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Il s’agit d’un événement :</a:t>
            </a:r>
          </a:p>
          <a:p>
            <a:pPr marL="285750" indent="-285750">
              <a:buFontTx/>
              <a:buChar char="-"/>
            </a:pPr>
            <a:r>
              <a:rPr lang="fr-FR" dirty="0"/>
              <a:t>En anglais (si au moins un membre de l’équipe ne parle pas français)</a:t>
            </a:r>
          </a:p>
          <a:p>
            <a:pPr marL="285750" indent="-285750">
              <a:buFontTx/>
              <a:buChar char="-"/>
            </a:pPr>
            <a:r>
              <a:rPr lang="fr-FR" dirty="0"/>
              <a:t>Online pour ceux qui ne peuvent pas venir en physique</a:t>
            </a:r>
          </a:p>
          <a:p>
            <a:pPr marL="285750" indent="-285750">
              <a:buFontTx/>
              <a:buChar char="-"/>
            </a:pPr>
            <a:r>
              <a:rPr lang="fr-FR" dirty="0"/>
              <a:t>Dans les locaux de Télécom Paris, Palaiseau pour ceux qui souhaitent se déplacer</a:t>
            </a:r>
          </a:p>
          <a:p>
            <a:r>
              <a:rPr lang="fr-FR" dirty="0"/>
              <a:t>Remplir le doodle pour voir vos dispo et mettre à disposition vos créneau comme ça les étudiant pourront réserver des sessions avec vous (système de réservation de créneau)</a:t>
            </a:r>
          </a:p>
          <a:p>
            <a:r>
              <a:rPr lang="fr-FR" dirty="0"/>
              <a:t>La session durent entre 15 et 20 min max et du coup elle aura lieu dans une salle de Télécom (si présence sur site) sinon depuis Discord</a:t>
            </a:r>
          </a:p>
        </p:txBody>
      </p:sp>
      <p:sp>
        <p:nvSpPr>
          <p:cNvPr id="4" name="Slide Number Placeholder 3"/>
          <p:cNvSpPr>
            <a:spLocks noGrp="1"/>
          </p:cNvSpPr>
          <p:nvPr>
            <p:ph type="sldNum" sz="quarter" idx="5"/>
          </p:nvPr>
        </p:nvSpPr>
        <p:spPr/>
        <p:txBody>
          <a:bodyPr/>
          <a:lstStyle/>
          <a:p>
            <a:fld id="{870CB4E9-2A62-40DB-B167-140429DE26D3}" type="slidenum">
              <a:rPr lang="fr-FR" smtClean="0"/>
              <a:t>20</a:t>
            </a:fld>
            <a:endParaRPr lang="fr-FR"/>
          </a:p>
        </p:txBody>
      </p:sp>
    </p:spTree>
    <p:extLst>
      <p:ext uri="{BB962C8B-B14F-4D97-AF65-F5344CB8AC3E}">
        <p14:creationId xmlns:p14="http://schemas.microsoft.com/office/powerpoint/2010/main" val="11084255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1</a:t>
            </a:fld>
            <a:endParaRPr lang="fr-FR"/>
          </a:p>
        </p:txBody>
      </p:sp>
    </p:spTree>
    <p:extLst>
      <p:ext uri="{BB962C8B-B14F-4D97-AF65-F5344CB8AC3E}">
        <p14:creationId xmlns:p14="http://schemas.microsoft.com/office/powerpoint/2010/main" val="841349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3</a:t>
            </a:fld>
            <a:endParaRPr lang="fr-FR"/>
          </a:p>
        </p:txBody>
      </p:sp>
    </p:spTree>
    <p:extLst>
      <p:ext uri="{BB962C8B-B14F-4D97-AF65-F5344CB8AC3E}">
        <p14:creationId xmlns:p14="http://schemas.microsoft.com/office/powerpoint/2010/main" val="2869085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Tx/>
              <a:buChar char="-"/>
            </a:pPr>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22</a:t>
            </a:fld>
            <a:endParaRPr lang="fr-FR"/>
          </a:p>
        </p:txBody>
      </p:sp>
    </p:spTree>
    <p:extLst>
      <p:ext uri="{BB962C8B-B14F-4D97-AF65-F5344CB8AC3E}">
        <p14:creationId xmlns:p14="http://schemas.microsoft.com/office/powerpoint/2010/main" val="608535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3</a:t>
            </a:fld>
            <a:endParaRPr lang="fr-FR"/>
          </a:p>
        </p:txBody>
      </p:sp>
    </p:spTree>
    <p:extLst>
      <p:ext uri="{BB962C8B-B14F-4D97-AF65-F5344CB8AC3E}">
        <p14:creationId xmlns:p14="http://schemas.microsoft.com/office/powerpoint/2010/main" val="1563242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24</a:t>
            </a:fld>
            <a:endParaRPr lang="fr-FR"/>
          </a:p>
        </p:txBody>
      </p:sp>
    </p:spTree>
    <p:extLst>
      <p:ext uri="{BB962C8B-B14F-4D97-AF65-F5344CB8AC3E}">
        <p14:creationId xmlns:p14="http://schemas.microsoft.com/office/powerpoint/2010/main" val="36559439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25</a:t>
            </a:fld>
            <a:endParaRPr lang="fr-FR"/>
          </a:p>
        </p:txBody>
      </p:sp>
    </p:spTree>
    <p:extLst>
      <p:ext uri="{BB962C8B-B14F-4D97-AF65-F5344CB8AC3E}">
        <p14:creationId xmlns:p14="http://schemas.microsoft.com/office/powerpoint/2010/main" val="2216240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a:p>
        </p:txBody>
      </p:sp>
      <p:sp>
        <p:nvSpPr>
          <p:cNvPr id="4" name="Slide Number Placeholder 3"/>
          <p:cNvSpPr>
            <a:spLocks noGrp="1"/>
          </p:cNvSpPr>
          <p:nvPr>
            <p:ph type="sldNum" sz="quarter" idx="5"/>
          </p:nvPr>
        </p:nvSpPr>
        <p:spPr/>
        <p:txBody>
          <a:bodyPr/>
          <a:lstStyle/>
          <a:p>
            <a:fld id="{870CB4E9-2A62-40DB-B167-140429DE26D3}" type="slidenum">
              <a:rPr lang="fr-FR" smtClean="0"/>
              <a:t>4</a:t>
            </a:fld>
            <a:endParaRPr lang="fr-FR"/>
          </a:p>
        </p:txBody>
      </p:sp>
    </p:spTree>
    <p:extLst>
      <p:ext uri="{BB962C8B-B14F-4D97-AF65-F5344CB8AC3E}">
        <p14:creationId xmlns:p14="http://schemas.microsoft.com/office/powerpoint/2010/main" val="1169985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5</a:t>
            </a:fld>
            <a:endParaRPr lang="fr-FR"/>
          </a:p>
        </p:txBody>
      </p:sp>
    </p:spTree>
    <p:extLst>
      <p:ext uri="{BB962C8B-B14F-4D97-AF65-F5344CB8AC3E}">
        <p14:creationId xmlns:p14="http://schemas.microsoft.com/office/powerpoint/2010/main" val="1507668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7</a:t>
            </a:fld>
            <a:endParaRPr lang="fr-FR"/>
          </a:p>
        </p:txBody>
      </p:sp>
    </p:spTree>
    <p:extLst>
      <p:ext uri="{BB962C8B-B14F-4D97-AF65-F5344CB8AC3E}">
        <p14:creationId xmlns:p14="http://schemas.microsoft.com/office/powerpoint/2010/main" val="624324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a:t>Composition globale du </a:t>
            </a:r>
            <a:r>
              <a:rPr lang="fr-FR" dirty="0" err="1"/>
              <a:t>dataset</a:t>
            </a:r>
            <a:endParaRPr lang="fr-FR" dirty="0"/>
          </a:p>
          <a:p>
            <a:pPr marL="628650" lvl="1" indent="-171450">
              <a:buFontTx/>
              <a:buChar char="-"/>
            </a:pPr>
            <a:r>
              <a:rPr lang="fr-FR" dirty="0"/>
              <a:t>Mixte des trois sources de donnée</a:t>
            </a:r>
          </a:p>
          <a:p>
            <a:pPr marL="171450" lvl="0" indent="-171450">
              <a:buFontTx/>
              <a:buChar char="-"/>
            </a:pPr>
            <a:endParaRPr lang="fr-FR" dirty="0"/>
          </a:p>
          <a:p>
            <a:pPr marL="171450" lvl="0" indent="-171450">
              <a:buFontTx/>
              <a:buChar char="-"/>
            </a:pPr>
            <a:r>
              <a:rPr lang="fr-FR" dirty="0"/>
              <a:t>Traitement des données</a:t>
            </a:r>
          </a:p>
          <a:p>
            <a:pPr marL="628650" lvl="1" indent="-171450">
              <a:buFontTx/>
              <a:buChar char="-"/>
            </a:pPr>
            <a:r>
              <a:rPr lang="fr-FR" dirty="0"/>
              <a:t> </a:t>
            </a:r>
            <a:r>
              <a:rPr lang="fr-FR" dirty="0" err="1"/>
              <a:t>Ech</a:t>
            </a:r>
            <a:r>
              <a:rPr lang="fr-FR" dirty="0"/>
              <a:t>.  : </a:t>
            </a:r>
            <a:r>
              <a:rPr lang="fr-FR" dirty="0" err="1"/>
              <a:t>selection</a:t>
            </a:r>
            <a:r>
              <a:rPr lang="fr-FR" dirty="0"/>
              <a:t> de 2600 d’image train et 1000 image test avec leur annotations</a:t>
            </a:r>
          </a:p>
          <a:p>
            <a:pPr marL="628650" lvl="1" indent="-171450">
              <a:buFontTx/>
              <a:buChar char="-"/>
            </a:pPr>
            <a:r>
              <a:rPr lang="fr-FR" dirty="0"/>
              <a:t> </a:t>
            </a:r>
            <a:r>
              <a:rPr lang="fr-FR" dirty="0" err="1"/>
              <a:t>tranfo</a:t>
            </a:r>
            <a:r>
              <a:rPr lang="fr-FR" dirty="0"/>
              <a:t>. :  ajouter des bruis sur 10% des images à la fois sur le train et sur le test (carrées noirs, </a:t>
            </a:r>
            <a:r>
              <a:rPr lang="fr-FR" dirty="0" err="1"/>
              <a:t>fouttages</a:t>
            </a:r>
            <a:r>
              <a:rPr lang="fr-FR" dirty="0"/>
              <a:t>, luminosité) modifier les nom des images avec une </a:t>
            </a:r>
            <a:r>
              <a:rPr lang="fr-FR" dirty="0" err="1"/>
              <a:t>methode</a:t>
            </a:r>
            <a:r>
              <a:rPr lang="fr-FR" dirty="0"/>
              <a:t> de </a:t>
            </a:r>
            <a:r>
              <a:rPr lang="fr-FR" dirty="0" err="1"/>
              <a:t>hashage</a:t>
            </a:r>
            <a:r>
              <a:rPr lang="fr-FR" dirty="0"/>
              <a:t>, </a:t>
            </a:r>
          </a:p>
          <a:p>
            <a:pPr marL="628650" lvl="1" indent="-171450">
              <a:buFontTx/>
              <a:buChar char="-"/>
            </a:pPr>
            <a:endParaRPr lang="fr-FR" dirty="0"/>
          </a:p>
          <a:p>
            <a:pPr marL="171450" lvl="0" indent="-171450">
              <a:buFontTx/>
              <a:buChar char="-"/>
            </a:pPr>
            <a:r>
              <a:rPr lang="fr-FR" dirty="0"/>
              <a:t>En sortie nous avons :  </a:t>
            </a:r>
          </a:p>
          <a:p>
            <a:pPr marL="628650" lvl="1" indent="-171450">
              <a:buFontTx/>
              <a:buChar char="-"/>
            </a:pPr>
            <a:r>
              <a:rPr lang="fr-FR" dirty="0"/>
              <a:t>un couple d’images  au format </a:t>
            </a:r>
            <a:r>
              <a:rPr lang="fr-FR" dirty="0" err="1"/>
              <a:t>jpg</a:t>
            </a:r>
            <a:r>
              <a:rPr lang="fr-FR" dirty="0"/>
              <a:t> et un fichier csv contenant  les labels et les coordonnées des </a:t>
            </a:r>
            <a:r>
              <a:rPr lang="fr-FR" dirty="0" err="1"/>
              <a:t>bounding</a:t>
            </a:r>
            <a:r>
              <a:rPr lang="fr-FR" dirty="0"/>
              <a:t> box associés</a:t>
            </a:r>
          </a:p>
          <a:p>
            <a:pPr marL="628650" lvl="1" indent="-171450">
              <a:buFontTx/>
              <a:buChar char="-"/>
            </a:pPr>
            <a:r>
              <a:rPr lang="fr-FR" dirty="0"/>
              <a:t>Couple d’images </a:t>
            </a:r>
            <a:r>
              <a:rPr lang="fr-FR" dirty="0" err="1"/>
              <a:t>jpg</a:t>
            </a:r>
            <a:r>
              <a:rPr lang="fr-FR" dirty="0"/>
              <a:t> des  </a:t>
            </a:r>
            <a:r>
              <a:rPr lang="fr-FR" dirty="0" err="1"/>
              <a:t>ech</a:t>
            </a:r>
            <a:r>
              <a:rPr lang="fr-FR" dirty="0"/>
              <a:t>. de chaque modèle (environ 3 de chaque sous différents angles de vue) + un csv contenant les </a:t>
            </a:r>
            <a:r>
              <a:rPr lang="fr-FR" dirty="0" err="1"/>
              <a:t>emissions</a:t>
            </a:r>
            <a:r>
              <a:rPr lang="fr-FR" dirty="0"/>
              <a:t> carbone de chaque modèle de voiture</a:t>
            </a:r>
          </a:p>
          <a:p>
            <a:pPr marL="628650" lvl="1" indent="-171450">
              <a:buFontTx/>
              <a:buChar char="-"/>
            </a:pPr>
            <a:endParaRPr lang="fr-FR" dirty="0"/>
          </a:p>
          <a:p>
            <a:pPr marL="628650" lvl="1" indent="-171450">
              <a:buFontTx/>
              <a:buChar char="-"/>
            </a:pPr>
            <a:endParaRPr lang="fr-FR" dirty="0"/>
          </a:p>
          <a:p>
            <a:pPr marL="171450" lvl="0" indent="-171450">
              <a:buFontTx/>
              <a:buChar char="-"/>
            </a:pPr>
            <a:endParaRPr lang="fr-FR" dirty="0"/>
          </a:p>
        </p:txBody>
      </p:sp>
      <p:sp>
        <p:nvSpPr>
          <p:cNvPr id="4" name="Slide Number Placeholder 3"/>
          <p:cNvSpPr>
            <a:spLocks noGrp="1"/>
          </p:cNvSpPr>
          <p:nvPr>
            <p:ph type="sldNum" sz="quarter" idx="5"/>
          </p:nvPr>
        </p:nvSpPr>
        <p:spPr/>
        <p:txBody>
          <a:bodyPr/>
          <a:lstStyle/>
          <a:p>
            <a:fld id="{870CB4E9-2A62-40DB-B167-140429DE26D3}" type="slidenum">
              <a:rPr lang="fr-FR" smtClean="0"/>
              <a:t>8</a:t>
            </a:fld>
            <a:endParaRPr lang="fr-FR"/>
          </a:p>
        </p:txBody>
      </p:sp>
    </p:spTree>
    <p:extLst>
      <p:ext uri="{BB962C8B-B14F-4D97-AF65-F5344CB8AC3E}">
        <p14:creationId xmlns:p14="http://schemas.microsoft.com/office/powerpoint/2010/main" val="2614873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a:t>Un visuel sur la donnée : </a:t>
            </a:r>
          </a:p>
          <a:p>
            <a:pPr marL="628650" lvl="1" indent="-171450">
              <a:buFontTx/>
              <a:buChar char="-"/>
            </a:pPr>
            <a:r>
              <a:rPr lang="fr-FR" dirty="0"/>
              <a:t>Du coté des labels on a </a:t>
            </a:r>
            <a:r>
              <a:rPr lang="fr-FR" dirty="0" err="1"/>
              <a:t>xmin</a:t>
            </a:r>
            <a:r>
              <a:rPr lang="fr-FR" dirty="0"/>
              <a:t> qui représente… </a:t>
            </a:r>
            <a:r>
              <a:rPr lang="fr-FR" dirty="0" err="1"/>
              <a:t>xmax</a:t>
            </a:r>
            <a:r>
              <a:rPr lang="fr-FR" dirty="0"/>
              <a:t>, …</a:t>
            </a:r>
          </a:p>
          <a:p>
            <a:pPr marL="628650" lvl="1" indent="-171450">
              <a:buFontTx/>
              <a:buChar char="-"/>
            </a:pPr>
            <a:r>
              <a:rPr lang="fr-FR" dirty="0"/>
              <a:t>Présenter la table des </a:t>
            </a:r>
            <a:r>
              <a:rPr lang="fr-FR" dirty="0" err="1"/>
              <a:t>emissions</a:t>
            </a:r>
            <a:r>
              <a:rPr lang="fr-FR" dirty="0"/>
              <a:t> carbone (focus sur la clé et la colonne CO2)</a:t>
            </a:r>
          </a:p>
          <a:p>
            <a:pPr marL="171450" lvl="0" indent="-171450">
              <a:buFontTx/>
              <a:buChar char="-"/>
            </a:pPr>
            <a:endParaRPr lang="fr-FR" dirty="0"/>
          </a:p>
          <a:p>
            <a:pPr marL="171450" lvl="0" indent="-171450">
              <a:buFontTx/>
              <a:buChar char="-"/>
            </a:pPr>
            <a:r>
              <a:rPr lang="fr-FR" dirty="0"/>
              <a:t>A droite des exemple d’image …;</a:t>
            </a:r>
          </a:p>
          <a:p>
            <a:pPr marL="171450" lvl="0" indent="-171450">
              <a:buFontTx/>
              <a:buChar char="-"/>
            </a:pPr>
            <a:endParaRPr lang="fr-FR" dirty="0"/>
          </a:p>
          <a:p>
            <a:pPr marL="171450" lvl="0" indent="-171450">
              <a:buFontTx/>
              <a:buChar char="-"/>
            </a:pPr>
            <a:r>
              <a:rPr lang="fr-FR" dirty="0"/>
              <a:t>Des question ?</a:t>
            </a:r>
          </a:p>
          <a:p>
            <a:r>
              <a:rPr lang="fr-FR" dirty="0"/>
              <a:t>	</a:t>
            </a:r>
          </a:p>
        </p:txBody>
      </p:sp>
      <p:sp>
        <p:nvSpPr>
          <p:cNvPr id="4" name="Slide Number Placeholder 3"/>
          <p:cNvSpPr>
            <a:spLocks noGrp="1"/>
          </p:cNvSpPr>
          <p:nvPr>
            <p:ph type="sldNum" sz="quarter" idx="5"/>
          </p:nvPr>
        </p:nvSpPr>
        <p:spPr/>
        <p:txBody>
          <a:bodyPr/>
          <a:lstStyle/>
          <a:p>
            <a:fld id="{870CB4E9-2A62-40DB-B167-140429DE26D3}" type="slidenum">
              <a:rPr lang="fr-FR" smtClean="0"/>
              <a:t>9</a:t>
            </a:fld>
            <a:endParaRPr lang="fr-FR"/>
          </a:p>
        </p:txBody>
      </p:sp>
    </p:spTree>
    <p:extLst>
      <p:ext uri="{BB962C8B-B14F-4D97-AF65-F5344CB8AC3E}">
        <p14:creationId xmlns:p14="http://schemas.microsoft.com/office/powerpoint/2010/main" val="2809342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noProof="0" dirty="0"/>
          </a:p>
        </p:txBody>
      </p:sp>
      <p:sp>
        <p:nvSpPr>
          <p:cNvPr id="4" name="Espace réservé du numéro de diapositive 3"/>
          <p:cNvSpPr>
            <a:spLocks noGrp="1"/>
          </p:cNvSpPr>
          <p:nvPr>
            <p:ph type="sldNum" sz="quarter" idx="5"/>
          </p:nvPr>
        </p:nvSpPr>
        <p:spPr/>
        <p:txBody>
          <a:bodyPr/>
          <a:lstStyle/>
          <a:p>
            <a:fld id="{870CB4E9-2A62-40DB-B167-140429DE26D3}" type="slidenum">
              <a:rPr lang="fr-FR" smtClean="0"/>
              <a:t>10</a:t>
            </a:fld>
            <a:endParaRPr lang="fr-FR"/>
          </a:p>
        </p:txBody>
      </p:sp>
    </p:spTree>
    <p:extLst>
      <p:ext uri="{BB962C8B-B14F-4D97-AF65-F5344CB8AC3E}">
        <p14:creationId xmlns:p14="http://schemas.microsoft.com/office/powerpoint/2010/main" val="2293192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err="1"/>
              <a:t>Presenter</a:t>
            </a:r>
            <a:r>
              <a:rPr lang="fr-FR" dirty="0"/>
              <a:t> la sortie et pourquoi</a:t>
            </a:r>
          </a:p>
          <a:p>
            <a:pPr marL="171450" indent="-171450">
              <a:buFontTx/>
              <a:buChar char="-"/>
            </a:pPr>
            <a:r>
              <a:rPr lang="fr-FR" dirty="0"/>
              <a:t>Présenter les deux métriques et dire qu’elle ont les mm ordres de grandeur</a:t>
            </a:r>
          </a:p>
          <a:p>
            <a:pPr marL="171450" indent="-171450">
              <a:buFontTx/>
              <a:buChar char="-"/>
            </a:pPr>
            <a:r>
              <a:rPr lang="fr-FR" dirty="0"/>
              <a:t>Présenter la métrique globale et le choix des poids (0.7 et 0.3)</a:t>
            </a:r>
          </a:p>
        </p:txBody>
      </p:sp>
      <p:sp>
        <p:nvSpPr>
          <p:cNvPr id="4" name="Slide Number Placeholder 3"/>
          <p:cNvSpPr>
            <a:spLocks noGrp="1"/>
          </p:cNvSpPr>
          <p:nvPr>
            <p:ph type="sldNum" sz="quarter" idx="5"/>
          </p:nvPr>
        </p:nvSpPr>
        <p:spPr/>
        <p:txBody>
          <a:bodyPr/>
          <a:lstStyle/>
          <a:p>
            <a:fld id="{870CB4E9-2A62-40DB-B167-140429DE26D3}" type="slidenum">
              <a:rPr lang="fr-FR" smtClean="0"/>
              <a:t>11</a:t>
            </a:fld>
            <a:endParaRPr lang="fr-FR"/>
          </a:p>
        </p:txBody>
      </p:sp>
    </p:spTree>
    <p:extLst>
      <p:ext uri="{BB962C8B-B14F-4D97-AF65-F5344CB8AC3E}">
        <p14:creationId xmlns:p14="http://schemas.microsoft.com/office/powerpoint/2010/main" val="627866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11.jpe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14.png"/><Relationship Id="rId17" Type="http://schemas.openxmlformats.org/officeDocument/2006/relationships/image" Target="../media/image10.png"/><Relationship Id="rId2" Type="http://schemas.openxmlformats.org/officeDocument/2006/relationships/tags" Target="../tags/tag7.xml"/><Relationship Id="rId16" Type="http://schemas.openxmlformats.org/officeDocument/2006/relationships/image" Target="../media/image16.png"/><Relationship Id="rId1" Type="http://schemas.openxmlformats.org/officeDocument/2006/relationships/tags" Target="../tags/tag6.xml"/><Relationship Id="rId6" Type="http://schemas.openxmlformats.org/officeDocument/2006/relationships/image" Target="../media/image17.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13.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youtube.com/capgeminimedia" TargetMode="External"/><Relationship Id="rId3" Type="http://schemas.openxmlformats.org/officeDocument/2006/relationships/tags" Target="../tags/tag16.xml"/><Relationship Id="rId7" Type="http://schemas.openxmlformats.org/officeDocument/2006/relationships/hyperlink" Target="http://www.linkedin.com/company/capgemini" TargetMode="External"/><Relationship Id="rId12" Type="http://schemas.openxmlformats.org/officeDocument/2006/relationships/image" Target="../media/image14.png"/><Relationship Id="rId17" Type="http://schemas.openxmlformats.org/officeDocument/2006/relationships/image" Target="../media/image10.png"/><Relationship Id="rId2" Type="http://schemas.openxmlformats.org/officeDocument/2006/relationships/tags" Target="../tags/tag15.xml"/><Relationship Id="rId16" Type="http://schemas.openxmlformats.org/officeDocument/2006/relationships/image" Target="../media/image16.png"/><Relationship Id="rId1" Type="http://schemas.openxmlformats.org/officeDocument/2006/relationships/tags" Target="../tags/tag14.xml"/><Relationship Id="rId6" Type="http://schemas.openxmlformats.org/officeDocument/2006/relationships/image" Target="../media/image17.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13.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openxmlformats.org/officeDocument/2006/relationships/image" Target="../media/image15.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4.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4.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32.sv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31.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6.pn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5.png"/><Relationship Id="rId4" Type="http://schemas.openxmlformats.org/officeDocument/2006/relationships/image" Target="../media/image12.png"/><Relationship Id="rId9" Type="http://schemas.openxmlformats.org/officeDocument/2006/relationships/hyperlink" Target="http://www.youtube.com/capgeminimedia" TargetMode="External"/><Relationship Id="rId14" Type="http://schemas.openxmlformats.org/officeDocument/2006/relationships/image" Target="../media/image32.svg"/></Relationships>
</file>

<file path=ppt/slideLayouts/_rels/slideLayout7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40.png"/><Relationship Id="rId18" Type="http://schemas.openxmlformats.org/officeDocument/2006/relationships/image" Target="../media/image31.png"/><Relationship Id="rId3" Type="http://schemas.openxmlformats.org/officeDocument/2006/relationships/hyperlink" Target="http://www.linkedin.com/company/capgemini" TargetMode="External"/><Relationship Id="rId7" Type="http://schemas.openxmlformats.org/officeDocument/2006/relationships/image" Target="../media/image3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image" Target="../media/image36.png"/><Relationship Id="rId16"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39.png"/><Relationship Id="rId19" Type="http://schemas.openxmlformats.org/officeDocument/2006/relationships/image" Target="../media/image32.svg"/><Relationship Id="rId4" Type="http://schemas.openxmlformats.org/officeDocument/2006/relationships/image" Target="../media/image3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40080" y="91440"/>
            <a:ext cx="10343951" cy="865739"/>
          </a:xfrm>
        </p:spPr>
        <p:txBody>
          <a:bodyPr vert="horz" lIns="0" tIns="180000" rIns="0" bIns="0" rtlCol="0" anchor="t">
            <a:noAutofit/>
          </a:bodyPr>
          <a:lstStyle>
            <a:lvl1pPr>
              <a:defRPr lang="en-GB" dirty="0"/>
            </a:lvl1pPr>
          </a:lstStyle>
          <a:p>
            <a:pPr lvl="0"/>
            <a:r>
              <a:rPr lang="fr-FR"/>
              <a:t>Modifiez le style du titre</a:t>
            </a:r>
            <a:endParaRPr lang="en-GB"/>
          </a:p>
        </p:txBody>
      </p:sp>
    </p:spTree>
    <p:extLst>
      <p:ext uri="{BB962C8B-B14F-4D97-AF65-F5344CB8AC3E}">
        <p14:creationId xmlns:p14="http://schemas.microsoft.com/office/powerpoint/2010/main" val="3943625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sp>
        <p:nvSpPr>
          <p:cNvPr id="5" name="Espace réservé du numéro de diapositive 3">
            <a:extLst>
              <a:ext uri="{FF2B5EF4-FFF2-40B4-BE49-F238E27FC236}">
                <a16:creationId xmlns:a16="http://schemas.microsoft.com/office/drawing/2014/main" id="{8A9AD945-2747-704B-923A-61273CAEF189}"/>
              </a:ext>
            </a:extLst>
          </p:cNvPr>
          <p:cNvSpPr txBox="1">
            <a:spLocks/>
          </p:cNvSpPr>
          <p:nvPr userDrawn="1"/>
        </p:nvSpPr>
        <p:spPr>
          <a:xfrm>
            <a:off x="11582400" y="6330918"/>
            <a:ext cx="6096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a:t>
            </a:fld>
            <a:endParaRPr lang="fr-FR" sz="1333"/>
          </a:p>
        </p:txBody>
      </p:sp>
      <p:sp>
        <p:nvSpPr>
          <p:cNvPr id="6" name="Google Shape;10;p1">
            <a:extLst>
              <a:ext uri="{FF2B5EF4-FFF2-40B4-BE49-F238E27FC236}">
                <a16:creationId xmlns:a16="http://schemas.microsoft.com/office/drawing/2014/main" id="{B6C01700-11D6-47E3-BBBC-93B817878FA4}"/>
              </a:ext>
            </a:extLst>
          </p:cNvPr>
          <p:cNvSpPr txBox="1">
            <a:spLocks noGrp="1"/>
          </p:cNvSpPr>
          <p:nvPr>
            <p:ph type="title" hasCustomPrompt="1"/>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fr-FR"/>
              <a:t>Tableau</a:t>
            </a:r>
            <a:endParaRPr/>
          </a:p>
        </p:txBody>
      </p:sp>
      <p:graphicFrame>
        <p:nvGraphicFramePr>
          <p:cNvPr id="54" name="Table 69">
            <a:extLst>
              <a:ext uri="{FF2B5EF4-FFF2-40B4-BE49-F238E27FC236}">
                <a16:creationId xmlns:a16="http://schemas.microsoft.com/office/drawing/2014/main" id="{A2BA376C-E0D9-49B7-9698-FC1E7919D708}"/>
              </a:ext>
            </a:extLst>
          </p:cNvPr>
          <p:cNvGraphicFramePr>
            <a:graphicFrameLocks noGrp="1"/>
          </p:cNvGraphicFramePr>
          <p:nvPr userDrawn="1">
            <p:extLst>
              <p:ext uri="{D42A27DB-BD31-4B8C-83A1-F6EECF244321}">
                <p14:modId xmlns:p14="http://schemas.microsoft.com/office/powerpoint/2010/main" val="1000009373"/>
              </p:ext>
            </p:extLst>
          </p:nvPr>
        </p:nvGraphicFramePr>
        <p:xfrm>
          <a:off x="1769109" y="1530401"/>
          <a:ext cx="8480430" cy="4311171"/>
        </p:xfrm>
        <a:graphic>
          <a:graphicData uri="http://schemas.openxmlformats.org/drawingml/2006/table">
            <a:tbl>
              <a:tblPr firstRow="1" bandRow="1"/>
              <a:tblGrid>
                <a:gridCol w="282681">
                  <a:extLst>
                    <a:ext uri="{9D8B030D-6E8A-4147-A177-3AD203B41FA5}">
                      <a16:colId xmlns:a16="http://schemas.microsoft.com/office/drawing/2014/main" val="2932921060"/>
                    </a:ext>
                  </a:extLst>
                </a:gridCol>
                <a:gridCol w="282681">
                  <a:extLst>
                    <a:ext uri="{9D8B030D-6E8A-4147-A177-3AD203B41FA5}">
                      <a16:colId xmlns:a16="http://schemas.microsoft.com/office/drawing/2014/main" val="1341044742"/>
                    </a:ext>
                  </a:extLst>
                </a:gridCol>
                <a:gridCol w="282681">
                  <a:extLst>
                    <a:ext uri="{9D8B030D-6E8A-4147-A177-3AD203B41FA5}">
                      <a16:colId xmlns:a16="http://schemas.microsoft.com/office/drawing/2014/main" val="2227051644"/>
                    </a:ext>
                  </a:extLst>
                </a:gridCol>
                <a:gridCol w="282681">
                  <a:extLst>
                    <a:ext uri="{9D8B030D-6E8A-4147-A177-3AD203B41FA5}">
                      <a16:colId xmlns:a16="http://schemas.microsoft.com/office/drawing/2014/main" val="3175700477"/>
                    </a:ext>
                  </a:extLst>
                </a:gridCol>
                <a:gridCol w="282681">
                  <a:extLst>
                    <a:ext uri="{9D8B030D-6E8A-4147-A177-3AD203B41FA5}">
                      <a16:colId xmlns:a16="http://schemas.microsoft.com/office/drawing/2014/main" val="4214803579"/>
                    </a:ext>
                  </a:extLst>
                </a:gridCol>
                <a:gridCol w="282681">
                  <a:extLst>
                    <a:ext uri="{9D8B030D-6E8A-4147-A177-3AD203B41FA5}">
                      <a16:colId xmlns:a16="http://schemas.microsoft.com/office/drawing/2014/main" val="2003594926"/>
                    </a:ext>
                  </a:extLst>
                </a:gridCol>
                <a:gridCol w="282681">
                  <a:extLst>
                    <a:ext uri="{9D8B030D-6E8A-4147-A177-3AD203B41FA5}">
                      <a16:colId xmlns:a16="http://schemas.microsoft.com/office/drawing/2014/main" val="1261105326"/>
                    </a:ext>
                  </a:extLst>
                </a:gridCol>
                <a:gridCol w="282681">
                  <a:extLst>
                    <a:ext uri="{9D8B030D-6E8A-4147-A177-3AD203B41FA5}">
                      <a16:colId xmlns:a16="http://schemas.microsoft.com/office/drawing/2014/main" val="1596060275"/>
                    </a:ext>
                  </a:extLst>
                </a:gridCol>
                <a:gridCol w="282681">
                  <a:extLst>
                    <a:ext uri="{9D8B030D-6E8A-4147-A177-3AD203B41FA5}">
                      <a16:colId xmlns:a16="http://schemas.microsoft.com/office/drawing/2014/main" val="1336985927"/>
                    </a:ext>
                  </a:extLst>
                </a:gridCol>
                <a:gridCol w="282681">
                  <a:extLst>
                    <a:ext uri="{9D8B030D-6E8A-4147-A177-3AD203B41FA5}">
                      <a16:colId xmlns:a16="http://schemas.microsoft.com/office/drawing/2014/main" val="3983282075"/>
                    </a:ext>
                  </a:extLst>
                </a:gridCol>
                <a:gridCol w="282681">
                  <a:extLst>
                    <a:ext uri="{9D8B030D-6E8A-4147-A177-3AD203B41FA5}">
                      <a16:colId xmlns:a16="http://schemas.microsoft.com/office/drawing/2014/main" val="2903072440"/>
                    </a:ext>
                  </a:extLst>
                </a:gridCol>
                <a:gridCol w="282681">
                  <a:extLst>
                    <a:ext uri="{9D8B030D-6E8A-4147-A177-3AD203B41FA5}">
                      <a16:colId xmlns:a16="http://schemas.microsoft.com/office/drawing/2014/main" val="271876335"/>
                    </a:ext>
                  </a:extLst>
                </a:gridCol>
                <a:gridCol w="282681">
                  <a:extLst>
                    <a:ext uri="{9D8B030D-6E8A-4147-A177-3AD203B41FA5}">
                      <a16:colId xmlns:a16="http://schemas.microsoft.com/office/drawing/2014/main" val="3754546175"/>
                    </a:ext>
                  </a:extLst>
                </a:gridCol>
                <a:gridCol w="282681">
                  <a:extLst>
                    <a:ext uri="{9D8B030D-6E8A-4147-A177-3AD203B41FA5}">
                      <a16:colId xmlns:a16="http://schemas.microsoft.com/office/drawing/2014/main" val="3285037215"/>
                    </a:ext>
                  </a:extLst>
                </a:gridCol>
                <a:gridCol w="282681">
                  <a:extLst>
                    <a:ext uri="{9D8B030D-6E8A-4147-A177-3AD203B41FA5}">
                      <a16:colId xmlns:a16="http://schemas.microsoft.com/office/drawing/2014/main" val="1377823678"/>
                    </a:ext>
                  </a:extLst>
                </a:gridCol>
                <a:gridCol w="282681">
                  <a:extLst>
                    <a:ext uri="{9D8B030D-6E8A-4147-A177-3AD203B41FA5}">
                      <a16:colId xmlns:a16="http://schemas.microsoft.com/office/drawing/2014/main" val="2894338463"/>
                    </a:ext>
                  </a:extLst>
                </a:gridCol>
                <a:gridCol w="282681">
                  <a:extLst>
                    <a:ext uri="{9D8B030D-6E8A-4147-A177-3AD203B41FA5}">
                      <a16:colId xmlns:a16="http://schemas.microsoft.com/office/drawing/2014/main" val="2472126490"/>
                    </a:ext>
                  </a:extLst>
                </a:gridCol>
                <a:gridCol w="282681">
                  <a:extLst>
                    <a:ext uri="{9D8B030D-6E8A-4147-A177-3AD203B41FA5}">
                      <a16:colId xmlns:a16="http://schemas.microsoft.com/office/drawing/2014/main" val="2786242793"/>
                    </a:ext>
                  </a:extLst>
                </a:gridCol>
                <a:gridCol w="282681">
                  <a:extLst>
                    <a:ext uri="{9D8B030D-6E8A-4147-A177-3AD203B41FA5}">
                      <a16:colId xmlns:a16="http://schemas.microsoft.com/office/drawing/2014/main" val="2769481737"/>
                    </a:ext>
                  </a:extLst>
                </a:gridCol>
                <a:gridCol w="282681">
                  <a:extLst>
                    <a:ext uri="{9D8B030D-6E8A-4147-A177-3AD203B41FA5}">
                      <a16:colId xmlns:a16="http://schemas.microsoft.com/office/drawing/2014/main" val="2299363717"/>
                    </a:ext>
                  </a:extLst>
                </a:gridCol>
                <a:gridCol w="282681">
                  <a:extLst>
                    <a:ext uri="{9D8B030D-6E8A-4147-A177-3AD203B41FA5}">
                      <a16:colId xmlns:a16="http://schemas.microsoft.com/office/drawing/2014/main" val="263567079"/>
                    </a:ext>
                  </a:extLst>
                </a:gridCol>
                <a:gridCol w="282681">
                  <a:extLst>
                    <a:ext uri="{9D8B030D-6E8A-4147-A177-3AD203B41FA5}">
                      <a16:colId xmlns:a16="http://schemas.microsoft.com/office/drawing/2014/main" val="706355656"/>
                    </a:ext>
                  </a:extLst>
                </a:gridCol>
                <a:gridCol w="282681">
                  <a:extLst>
                    <a:ext uri="{9D8B030D-6E8A-4147-A177-3AD203B41FA5}">
                      <a16:colId xmlns:a16="http://schemas.microsoft.com/office/drawing/2014/main" val="2781066056"/>
                    </a:ext>
                  </a:extLst>
                </a:gridCol>
                <a:gridCol w="282681">
                  <a:extLst>
                    <a:ext uri="{9D8B030D-6E8A-4147-A177-3AD203B41FA5}">
                      <a16:colId xmlns:a16="http://schemas.microsoft.com/office/drawing/2014/main" val="3973781191"/>
                    </a:ext>
                  </a:extLst>
                </a:gridCol>
                <a:gridCol w="282681">
                  <a:extLst>
                    <a:ext uri="{9D8B030D-6E8A-4147-A177-3AD203B41FA5}">
                      <a16:colId xmlns:a16="http://schemas.microsoft.com/office/drawing/2014/main" val="1038280098"/>
                    </a:ext>
                  </a:extLst>
                </a:gridCol>
                <a:gridCol w="282681">
                  <a:extLst>
                    <a:ext uri="{9D8B030D-6E8A-4147-A177-3AD203B41FA5}">
                      <a16:colId xmlns:a16="http://schemas.microsoft.com/office/drawing/2014/main" val="303538949"/>
                    </a:ext>
                  </a:extLst>
                </a:gridCol>
                <a:gridCol w="282681">
                  <a:extLst>
                    <a:ext uri="{9D8B030D-6E8A-4147-A177-3AD203B41FA5}">
                      <a16:colId xmlns:a16="http://schemas.microsoft.com/office/drawing/2014/main" val="1201043028"/>
                    </a:ext>
                  </a:extLst>
                </a:gridCol>
                <a:gridCol w="282681">
                  <a:extLst>
                    <a:ext uri="{9D8B030D-6E8A-4147-A177-3AD203B41FA5}">
                      <a16:colId xmlns:a16="http://schemas.microsoft.com/office/drawing/2014/main" val="744012954"/>
                    </a:ext>
                  </a:extLst>
                </a:gridCol>
                <a:gridCol w="282681">
                  <a:extLst>
                    <a:ext uri="{9D8B030D-6E8A-4147-A177-3AD203B41FA5}">
                      <a16:colId xmlns:a16="http://schemas.microsoft.com/office/drawing/2014/main" val="2981086400"/>
                    </a:ext>
                  </a:extLst>
                </a:gridCol>
                <a:gridCol w="282681">
                  <a:extLst>
                    <a:ext uri="{9D8B030D-6E8A-4147-A177-3AD203B41FA5}">
                      <a16:colId xmlns:a16="http://schemas.microsoft.com/office/drawing/2014/main" val="3097083667"/>
                    </a:ext>
                  </a:extLst>
                </a:gridCol>
              </a:tblGrid>
              <a:tr h="279695">
                <a:tc gridSpan="8">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3857"/>
                          </a:solidFill>
                          <a:effectLst/>
                          <a:uLnTx/>
                          <a:uFillTx/>
                          <a:latin typeface="+mn-lt"/>
                          <a:ea typeface="+mn-ea"/>
                          <a:cs typeface="+mn-cs"/>
                        </a:rPr>
                        <a:t>2020</a:t>
                      </a:r>
                      <a:endParaRPr kumimoji="0" lang="en-US" sz="1100" b="1" i="0" u="none" strike="noStrike" kern="1200" cap="none" spc="0" normalizeH="0" baseline="0" noProof="0">
                        <a:ln>
                          <a:noFill/>
                        </a:ln>
                        <a:solidFill>
                          <a:srgbClr val="003857"/>
                        </a:solidFill>
                        <a:effectLst/>
                        <a:uLnTx/>
                        <a:uFillTx/>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2">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3857"/>
                          </a:solidFill>
                          <a:effectLst/>
                          <a:uLnTx/>
                          <a:uFillTx/>
                          <a:latin typeface="+mn-lt"/>
                          <a:ea typeface="+mn-ea"/>
                          <a:cs typeface="+mn-cs"/>
                        </a:rPr>
                        <a:t>2021</a:t>
                      </a:r>
                      <a:endParaRPr kumimoji="0" lang="en-US" sz="1100" b="1" i="0" u="none" strike="noStrike" kern="1200" cap="none" spc="0" normalizeH="0" baseline="0" noProof="0">
                        <a:ln>
                          <a:noFill/>
                        </a:ln>
                        <a:solidFill>
                          <a:srgbClr val="003857"/>
                        </a:solidFill>
                        <a:effectLst/>
                        <a:uLnTx/>
                        <a:uFillTx/>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8724323"/>
                  </a:ext>
                </a:extLst>
              </a:tr>
              <a:tr h="279695">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Nov</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Dec</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Jan</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Fev</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5">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Mar</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4">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Avr</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gridSpan="5">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prstClr val="white"/>
                          </a:solidFill>
                          <a:effectLst/>
                          <a:uLnTx/>
                          <a:uFillTx/>
                          <a:latin typeface="+mn-lt"/>
                          <a:ea typeface="+mn-ea"/>
                          <a:cs typeface="+mn-cs"/>
                        </a:rPr>
                        <a:t>Mai</a:t>
                      </a: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n-lt"/>
                        <a:ea typeface="+mn-ea"/>
                        <a:cs typeface="+mn-cs"/>
                      </a:endParaRPr>
                    </a:p>
                  </a:txBody>
                  <a:tcPr marL="37148" marR="37148" marT="37148" marB="37148"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0AD">
                        <a:lumMod val="50000"/>
                      </a:srgbClr>
                    </a:solidFill>
                  </a:tcPr>
                </a:tc>
                <a:extLst>
                  <a:ext uri="{0D108BD9-81ED-4DB2-BD59-A6C34878D82A}">
                    <a16:rowId xmlns:a16="http://schemas.microsoft.com/office/drawing/2014/main" val="2461696145"/>
                  </a:ext>
                </a:extLst>
              </a:tr>
              <a:tr h="199781">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6</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3</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0</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7</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8</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5</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2</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9</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6</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0</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17</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24</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500" b="0" i="0" u="none" strike="noStrike" kern="1200" cap="none" spc="0" normalizeH="0" baseline="0" noProof="0">
                          <a:ln>
                            <a:noFill/>
                          </a:ln>
                          <a:solidFill>
                            <a:schemeClr val="tx1"/>
                          </a:solidFill>
                          <a:effectLst/>
                          <a:uLnTx/>
                          <a:uFillTx/>
                          <a:latin typeface="Verdana"/>
                          <a:ea typeface="+mn-ea"/>
                          <a:cs typeface="+mn-cs"/>
                        </a:rPr>
                        <a:t>31</a:t>
                      </a:r>
                      <a:endParaRPr kumimoji="0" lang="en-US" sz="500" b="0" i="0" u="none" strike="noStrike" kern="1200" cap="none" spc="0" normalizeH="0" baseline="0" noProof="0">
                        <a:ln>
                          <a:noFill/>
                        </a:ln>
                        <a:solidFill>
                          <a:schemeClr val="tx1"/>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2902756"/>
                  </a:ext>
                </a:extLst>
              </a:tr>
              <a:tr h="3552000">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solidFill>
                      <a:srgbClr val="ECECEC">
                        <a:lumMod val="9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tx1"/>
                          </a:solidFill>
                          <a:latin typeface="Verdana"/>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white"/>
                        </a:solidFill>
                        <a:effectLst/>
                        <a:uLnTx/>
                        <a:uFillTx/>
                        <a:latin typeface="Verdana"/>
                        <a:ea typeface="+mn-ea"/>
                        <a:cs typeface="+mn-cs"/>
                      </a:endParaRPr>
                    </a:p>
                  </a:txBody>
                  <a:tcPr marL="18000" marR="18000" marT="37148" marB="37148" anchor="ctr">
                    <a:lnL w="3175" cap="flat" cmpd="sng" algn="ctr">
                      <a:solidFill>
                        <a:srgbClr val="ECECEC">
                          <a:lumMod val="75000"/>
                        </a:srgbClr>
                      </a:solidFill>
                      <a:prstDash val="solid"/>
                      <a:round/>
                      <a:headEnd type="none" w="med" len="med"/>
                      <a:tailEnd type="none" w="med" len="med"/>
                    </a:lnL>
                    <a:lnR w="3175" cap="flat" cmpd="sng" algn="ctr">
                      <a:solidFill>
                        <a:srgbClr val="ECECEC">
                          <a:lumMod val="7500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ECECEC">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2410646"/>
                  </a:ext>
                </a:extLst>
              </a:tr>
            </a:tbl>
          </a:graphicData>
        </a:graphic>
      </p:graphicFrame>
      <p:sp>
        <p:nvSpPr>
          <p:cNvPr id="55" name="Isosceles Triangle 54">
            <a:extLst>
              <a:ext uri="{FF2B5EF4-FFF2-40B4-BE49-F238E27FC236}">
                <a16:creationId xmlns:a16="http://schemas.microsoft.com/office/drawing/2014/main" id="{F949D0E3-22EA-42E1-AC6B-0056E54D5E6C}"/>
              </a:ext>
            </a:extLst>
          </p:cNvPr>
          <p:cNvSpPr/>
          <p:nvPr userDrawn="1"/>
        </p:nvSpPr>
        <p:spPr>
          <a:xfrm>
            <a:off x="2010771" y="268368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6" name="Isosceles Triangle 55">
            <a:extLst>
              <a:ext uri="{FF2B5EF4-FFF2-40B4-BE49-F238E27FC236}">
                <a16:creationId xmlns:a16="http://schemas.microsoft.com/office/drawing/2014/main" id="{E0BE9D84-0999-4162-BD53-534DFDC8AE23}"/>
              </a:ext>
            </a:extLst>
          </p:cNvPr>
          <p:cNvSpPr/>
          <p:nvPr userDrawn="1"/>
        </p:nvSpPr>
        <p:spPr>
          <a:xfrm>
            <a:off x="2293673" y="268368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7" name="Isosceles Triangle 56">
            <a:extLst>
              <a:ext uri="{FF2B5EF4-FFF2-40B4-BE49-F238E27FC236}">
                <a16:creationId xmlns:a16="http://schemas.microsoft.com/office/drawing/2014/main" id="{973B42A3-E3C4-493F-8209-C1E4E9174CF7}"/>
              </a:ext>
            </a:extLst>
          </p:cNvPr>
          <p:cNvSpPr/>
          <p:nvPr userDrawn="1"/>
        </p:nvSpPr>
        <p:spPr>
          <a:xfrm>
            <a:off x="2576575" y="2683688"/>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8" name="Isosceles Triangle 57">
            <a:extLst>
              <a:ext uri="{FF2B5EF4-FFF2-40B4-BE49-F238E27FC236}">
                <a16:creationId xmlns:a16="http://schemas.microsoft.com/office/drawing/2014/main" id="{7BFEC3C9-B30C-4CE2-9F92-CF6228865021}"/>
              </a:ext>
            </a:extLst>
          </p:cNvPr>
          <p:cNvSpPr/>
          <p:nvPr userDrawn="1"/>
        </p:nvSpPr>
        <p:spPr>
          <a:xfrm>
            <a:off x="2859477" y="268368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59" name="Isosceles Triangle 58">
            <a:extLst>
              <a:ext uri="{FF2B5EF4-FFF2-40B4-BE49-F238E27FC236}">
                <a16:creationId xmlns:a16="http://schemas.microsoft.com/office/drawing/2014/main" id="{FAD02E89-09A7-4481-9C2F-D1D079897534}"/>
              </a:ext>
            </a:extLst>
          </p:cNvPr>
          <p:cNvSpPr/>
          <p:nvPr userDrawn="1"/>
        </p:nvSpPr>
        <p:spPr>
          <a:xfrm>
            <a:off x="3142379" y="268368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0" name="Isosceles Triangle 59">
            <a:extLst>
              <a:ext uri="{FF2B5EF4-FFF2-40B4-BE49-F238E27FC236}">
                <a16:creationId xmlns:a16="http://schemas.microsoft.com/office/drawing/2014/main" id="{B8F0A738-0282-4E9B-9AC3-CF4165CB4B6D}"/>
              </a:ext>
            </a:extLst>
          </p:cNvPr>
          <p:cNvSpPr/>
          <p:nvPr userDrawn="1"/>
        </p:nvSpPr>
        <p:spPr>
          <a:xfrm>
            <a:off x="3425281" y="268368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1" name="Isosceles Triangle 60">
            <a:extLst>
              <a:ext uri="{FF2B5EF4-FFF2-40B4-BE49-F238E27FC236}">
                <a16:creationId xmlns:a16="http://schemas.microsoft.com/office/drawing/2014/main" id="{54AA3569-5F1D-4E8B-B3C3-70AD5B64142A}"/>
              </a:ext>
            </a:extLst>
          </p:cNvPr>
          <p:cNvSpPr/>
          <p:nvPr userDrawn="1"/>
        </p:nvSpPr>
        <p:spPr>
          <a:xfrm>
            <a:off x="3708183" y="2683684"/>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2" name="Isosceles Triangle 61">
            <a:extLst>
              <a:ext uri="{FF2B5EF4-FFF2-40B4-BE49-F238E27FC236}">
                <a16:creationId xmlns:a16="http://schemas.microsoft.com/office/drawing/2014/main" id="{3D190516-0776-4327-A579-CAB6E74834B9}"/>
              </a:ext>
            </a:extLst>
          </p:cNvPr>
          <p:cNvSpPr/>
          <p:nvPr userDrawn="1"/>
        </p:nvSpPr>
        <p:spPr>
          <a:xfrm>
            <a:off x="3991085" y="268368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3" name="Isosceles Triangle 62">
            <a:extLst>
              <a:ext uri="{FF2B5EF4-FFF2-40B4-BE49-F238E27FC236}">
                <a16:creationId xmlns:a16="http://schemas.microsoft.com/office/drawing/2014/main" id="{21DF081A-9D54-4895-8701-EBFD7F3CDA66}"/>
              </a:ext>
            </a:extLst>
          </p:cNvPr>
          <p:cNvSpPr/>
          <p:nvPr userDrawn="1"/>
        </p:nvSpPr>
        <p:spPr>
          <a:xfrm>
            <a:off x="4273987"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4" name="Isosceles Triangle 63">
            <a:extLst>
              <a:ext uri="{FF2B5EF4-FFF2-40B4-BE49-F238E27FC236}">
                <a16:creationId xmlns:a16="http://schemas.microsoft.com/office/drawing/2014/main" id="{F426CD68-4A94-405E-AECF-D5E8779017CA}"/>
              </a:ext>
            </a:extLst>
          </p:cNvPr>
          <p:cNvSpPr/>
          <p:nvPr userDrawn="1"/>
        </p:nvSpPr>
        <p:spPr>
          <a:xfrm>
            <a:off x="4839791"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5" name="Isosceles Triangle 64">
            <a:extLst>
              <a:ext uri="{FF2B5EF4-FFF2-40B4-BE49-F238E27FC236}">
                <a16:creationId xmlns:a16="http://schemas.microsoft.com/office/drawing/2014/main" id="{D744701D-F9D3-4FAC-B27E-3215A0042FF4}"/>
              </a:ext>
            </a:extLst>
          </p:cNvPr>
          <p:cNvSpPr/>
          <p:nvPr userDrawn="1"/>
        </p:nvSpPr>
        <p:spPr>
          <a:xfrm>
            <a:off x="5122693" y="2683680"/>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6" name="Isosceles Triangle 65">
            <a:extLst>
              <a:ext uri="{FF2B5EF4-FFF2-40B4-BE49-F238E27FC236}">
                <a16:creationId xmlns:a16="http://schemas.microsoft.com/office/drawing/2014/main" id="{E57A2760-BC09-4640-B849-76135D184E46}"/>
              </a:ext>
            </a:extLst>
          </p:cNvPr>
          <p:cNvSpPr/>
          <p:nvPr userDrawn="1"/>
        </p:nvSpPr>
        <p:spPr>
          <a:xfrm>
            <a:off x="5405595" y="268367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7" name="Isosceles Triangle 66">
            <a:extLst>
              <a:ext uri="{FF2B5EF4-FFF2-40B4-BE49-F238E27FC236}">
                <a16:creationId xmlns:a16="http://schemas.microsoft.com/office/drawing/2014/main" id="{89CA1170-9545-43FD-A0C6-1DBF2AD2CD11}"/>
              </a:ext>
            </a:extLst>
          </p:cNvPr>
          <p:cNvSpPr/>
          <p:nvPr userDrawn="1"/>
        </p:nvSpPr>
        <p:spPr>
          <a:xfrm>
            <a:off x="5688497" y="268367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8" name="Isosceles Triangle 67">
            <a:extLst>
              <a:ext uri="{FF2B5EF4-FFF2-40B4-BE49-F238E27FC236}">
                <a16:creationId xmlns:a16="http://schemas.microsoft.com/office/drawing/2014/main" id="{24890F9E-39D5-4E5F-B1D7-8787810E9371}"/>
              </a:ext>
            </a:extLst>
          </p:cNvPr>
          <p:cNvSpPr/>
          <p:nvPr userDrawn="1"/>
        </p:nvSpPr>
        <p:spPr>
          <a:xfrm>
            <a:off x="5971399" y="268367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69" name="Isosceles Triangle 68">
            <a:extLst>
              <a:ext uri="{FF2B5EF4-FFF2-40B4-BE49-F238E27FC236}">
                <a16:creationId xmlns:a16="http://schemas.microsoft.com/office/drawing/2014/main" id="{51813610-F863-424E-9522-3F9AD4501824}"/>
              </a:ext>
            </a:extLst>
          </p:cNvPr>
          <p:cNvSpPr/>
          <p:nvPr userDrawn="1"/>
        </p:nvSpPr>
        <p:spPr>
          <a:xfrm>
            <a:off x="6254301" y="2683676"/>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0" name="Isosceles Triangle 69">
            <a:extLst>
              <a:ext uri="{FF2B5EF4-FFF2-40B4-BE49-F238E27FC236}">
                <a16:creationId xmlns:a16="http://schemas.microsoft.com/office/drawing/2014/main" id="{3761EE9B-7930-4BB9-AC0D-12436E19382B}"/>
              </a:ext>
            </a:extLst>
          </p:cNvPr>
          <p:cNvSpPr/>
          <p:nvPr userDrawn="1"/>
        </p:nvSpPr>
        <p:spPr>
          <a:xfrm>
            <a:off x="6537203" y="268367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1" name="Isosceles Triangle 70">
            <a:extLst>
              <a:ext uri="{FF2B5EF4-FFF2-40B4-BE49-F238E27FC236}">
                <a16:creationId xmlns:a16="http://schemas.microsoft.com/office/drawing/2014/main" id="{9033E7FE-8FF4-4F49-9C66-30FD1ADFE051}"/>
              </a:ext>
            </a:extLst>
          </p:cNvPr>
          <p:cNvSpPr/>
          <p:nvPr userDrawn="1"/>
        </p:nvSpPr>
        <p:spPr>
          <a:xfrm>
            <a:off x="6820105" y="268367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2" name="Isosceles Triangle 71">
            <a:extLst>
              <a:ext uri="{FF2B5EF4-FFF2-40B4-BE49-F238E27FC236}">
                <a16:creationId xmlns:a16="http://schemas.microsoft.com/office/drawing/2014/main" id="{D49BA2AB-0E47-4712-96EF-99B8F1ED304A}"/>
              </a:ext>
            </a:extLst>
          </p:cNvPr>
          <p:cNvSpPr/>
          <p:nvPr userDrawn="1"/>
        </p:nvSpPr>
        <p:spPr>
          <a:xfrm>
            <a:off x="7103007" y="268367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3" name="Isosceles Triangle 72">
            <a:extLst>
              <a:ext uri="{FF2B5EF4-FFF2-40B4-BE49-F238E27FC236}">
                <a16:creationId xmlns:a16="http://schemas.microsoft.com/office/drawing/2014/main" id="{9837B15C-EBA6-4D54-9C07-24F97A34387D}"/>
              </a:ext>
            </a:extLst>
          </p:cNvPr>
          <p:cNvSpPr/>
          <p:nvPr userDrawn="1"/>
        </p:nvSpPr>
        <p:spPr>
          <a:xfrm>
            <a:off x="7385909" y="2683672"/>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4" name="Isosceles Triangle 73">
            <a:extLst>
              <a:ext uri="{FF2B5EF4-FFF2-40B4-BE49-F238E27FC236}">
                <a16:creationId xmlns:a16="http://schemas.microsoft.com/office/drawing/2014/main" id="{71000CB4-E381-47B2-A57C-E54CDCF3E6FE}"/>
              </a:ext>
            </a:extLst>
          </p:cNvPr>
          <p:cNvSpPr/>
          <p:nvPr userDrawn="1"/>
        </p:nvSpPr>
        <p:spPr>
          <a:xfrm>
            <a:off x="7668811" y="268367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5" name="Isosceles Triangle 74">
            <a:extLst>
              <a:ext uri="{FF2B5EF4-FFF2-40B4-BE49-F238E27FC236}">
                <a16:creationId xmlns:a16="http://schemas.microsoft.com/office/drawing/2014/main" id="{9D757939-F67B-4CDA-820A-18641D6B47AE}"/>
              </a:ext>
            </a:extLst>
          </p:cNvPr>
          <p:cNvSpPr/>
          <p:nvPr userDrawn="1"/>
        </p:nvSpPr>
        <p:spPr>
          <a:xfrm>
            <a:off x="7951713" y="268366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6" name="Isosceles Triangle 75">
            <a:extLst>
              <a:ext uri="{FF2B5EF4-FFF2-40B4-BE49-F238E27FC236}">
                <a16:creationId xmlns:a16="http://schemas.microsoft.com/office/drawing/2014/main" id="{E45271B0-0036-4E94-BEF6-6673837DE74A}"/>
              </a:ext>
            </a:extLst>
          </p:cNvPr>
          <p:cNvSpPr/>
          <p:nvPr userDrawn="1"/>
        </p:nvSpPr>
        <p:spPr>
          <a:xfrm>
            <a:off x="8234615" y="2683669"/>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7" name="Isosceles Triangle 76">
            <a:extLst>
              <a:ext uri="{FF2B5EF4-FFF2-40B4-BE49-F238E27FC236}">
                <a16:creationId xmlns:a16="http://schemas.microsoft.com/office/drawing/2014/main" id="{1220DDC3-D22D-46D7-B9F0-DE41EAB93A71}"/>
              </a:ext>
            </a:extLst>
          </p:cNvPr>
          <p:cNvSpPr/>
          <p:nvPr userDrawn="1"/>
        </p:nvSpPr>
        <p:spPr>
          <a:xfrm>
            <a:off x="8517517" y="2683668"/>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8" name="Isosceles Triangle 77">
            <a:extLst>
              <a:ext uri="{FF2B5EF4-FFF2-40B4-BE49-F238E27FC236}">
                <a16:creationId xmlns:a16="http://schemas.microsoft.com/office/drawing/2014/main" id="{91905062-2C04-48E7-9557-D64345ADB47B}"/>
              </a:ext>
            </a:extLst>
          </p:cNvPr>
          <p:cNvSpPr/>
          <p:nvPr userDrawn="1"/>
        </p:nvSpPr>
        <p:spPr>
          <a:xfrm>
            <a:off x="8800419" y="2683667"/>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79" name="Isosceles Triangle 78">
            <a:extLst>
              <a:ext uri="{FF2B5EF4-FFF2-40B4-BE49-F238E27FC236}">
                <a16:creationId xmlns:a16="http://schemas.microsoft.com/office/drawing/2014/main" id="{920E1256-925F-4AC6-8C40-A9E0FFFD958B}"/>
              </a:ext>
            </a:extLst>
          </p:cNvPr>
          <p:cNvSpPr/>
          <p:nvPr userDrawn="1"/>
        </p:nvSpPr>
        <p:spPr>
          <a:xfrm>
            <a:off x="9083321" y="268366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0" name="Isosceles Triangle 79">
            <a:extLst>
              <a:ext uri="{FF2B5EF4-FFF2-40B4-BE49-F238E27FC236}">
                <a16:creationId xmlns:a16="http://schemas.microsoft.com/office/drawing/2014/main" id="{F5F09115-9DBD-4BD1-8EB6-ABC517DDAD57}"/>
              </a:ext>
            </a:extLst>
          </p:cNvPr>
          <p:cNvSpPr/>
          <p:nvPr userDrawn="1"/>
        </p:nvSpPr>
        <p:spPr>
          <a:xfrm>
            <a:off x="9366223" y="2683665"/>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1" name="Isosceles Triangle 80">
            <a:extLst>
              <a:ext uri="{FF2B5EF4-FFF2-40B4-BE49-F238E27FC236}">
                <a16:creationId xmlns:a16="http://schemas.microsoft.com/office/drawing/2014/main" id="{9584F458-1F95-45C3-BFA2-8B55C40C84EC}"/>
              </a:ext>
            </a:extLst>
          </p:cNvPr>
          <p:cNvSpPr/>
          <p:nvPr userDrawn="1"/>
        </p:nvSpPr>
        <p:spPr>
          <a:xfrm>
            <a:off x="9649125" y="2683664"/>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2" name="Isosceles Triangle 81">
            <a:extLst>
              <a:ext uri="{FF2B5EF4-FFF2-40B4-BE49-F238E27FC236}">
                <a16:creationId xmlns:a16="http://schemas.microsoft.com/office/drawing/2014/main" id="{92786B8E-A01E-4783-98CF-15C6A8728D8E}"/>
              </a:ext>
            </a:extLst>
          </p:cNvPr>
          <p:cNvSpPr/>
          <p:nvPr userDrawn="1"/>
        </p:nvSpPr>
        <p:spPr>
          <a:xfrm>
            <a:off x="9932027" y="2683663"/>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3" name="Isosceles Triangle 82">
            <a:extLst>
              <a:ext uri="{FF2B5EF4-FFF2-40B4-BE49-F238E27FC236}">
                <a16:creationId xmlns:a16="http://schemas.microsoft.com/office/drawing/2014/main" id="{85A4C74A-D550-4F40-B099-C272B604F1AD}"/>
              </a:ext>
            </a:extLst>
          </p:cNvPr>
          <p:cNvSpPr/>
          <p:nvPr userDrawn="1"/>
        </p:nvSpPr>
        <p:spPr>
          <a:xfrm>
            <a:off x="10214935" y="268366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4" name="Isosceles Triangle 83">
            <a:extLst>
              <a:ext uri="{FF2B5EF4-FFF2-40B4-BE49-F238E27FC236}">
                <a16:creationId xmlns:a16="http://schemas.microsoft.com/office/drawing/2014/main" id="{AE9EE1E8-4BF1-4BFD-B928-32E314677152}"/>
              </a:ext>
            </a:extLst>
          </p:cNvPr>
          <p:cNvSpPr/>
          <p:nvPr userDrawn="1"/>
        </p:nvSpPr>
        <p:spPr>
          <a:xfrm>
            <a:off x="4556889" y="2683681"/>
            <a:ext cx="72243" cy="71595"/>
          </a:xfrm>
          <a:prstGeom prst="triangle">
            <a:avLst/>
          </a:prstGeom>
          <a:solidFill>
            <a:srgbClr val="00B050"/>
          </a:solidFill>
          <a:ln w="12700" cap="flat" cmpd="sng" algn="ctr">
            <a:no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5" name="Diamond 84">
            <a:extLst>
              <a:ext uri="{FF2B5EF4-FFF2-40B4-BE49-F238E27FC236}">
                <a16:creationId xmlns:a16="http://schemas.microsoft.com/office/drawing/2014/main" id="{149017F0-A0D0-43F9-BE6A-C4A0347EA886}"/>
              </a:ext>
            </a:extLst>
          </p:cNvPr>
          <p:cNvSpPr/>
          <p:nvPr userDrawn="1"/>
        </p:nvSpPr>
        <p:spPr>
          <a:xfrm>
            <a:off x="1755731"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6" name="Diamond 85">
            <a:extLst>
              <a:ext uri="{FF2B5EF4-FFF2-40B4-BE49-F238E27FC236}">
                <a16:creationId xmlns:a16="http://schemas.microsoft.com/office/drawing/2014/main" id="{F49CC39C-BD3D-4E3D-9026-38FA417FF246}"/>
              </a:ext>
            </a:extLst>
          </p:cNvPr>
          <p:cNvSpPr/>
          <p:nvPr userDrawn="1"/>
        </p:nvSpPr>
        <p:spPr>
          <a:xfrm>
            <a:off x="2111229"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87" name="TextBox 86">
            <a:extLst>
              <a:ext uri="{FF2B5EF4-FFF2-40B4-BE49-F238E27FC236}">
                <a16:creationId xmlns:a16="http://schemas.microsoft.com/office/drawing/2014/main" id="{CFFFEF18-469A-4BC7-940E-C4E910BB5E47}"/>
              </a:ext>
            </a:extLst>
          </p:cNvPr>
          <p:cNvSpPr txBox="1"/>
          <p:nvPr userDrawn="1"/>
        </p:nvSpPr>
        <p:spPr>
          <a:xfrm>
            <a:off x="464962" y="2350245"/>
            <a:ext cx="1291873" cy="195814"/>
          </a:xfrm>
          <a:prstGeom prst="rect">
            <a:avLst/>
          </a:prstGeom>
          <a:noFill/>
        </p:spPr>
        <p:txBody>
          <a:bodyPr wrap="square" lIns="36000" tIns="36000" rIns="36000" bIns="36000" rtlCol="0">
            <a:spAutoFit/>
          </a:bodyPr>
          <a:lstStyle/>
          <a:p>
            <a:pPr algn="r"/>
            <a:r>
              <a:rPr lang="fr-FR" sz="800">
                <a:latin typeface="Verdana"/>
              </a:rPr>
              <a:t>Comité des mécènes</a:t>
            </a:r>
          </a:p>
        </p:txBody>
      </p:sp>
      <p:sp>
        <p:nvSpPr>
          <p:cNvPr id="88" name="TextBox 87">
            <a:extLst>
              <a:ext uri="{FF2B5EF4-FFF2-40B4-BE49-F238E27FC236}">
                <a16:creationId xmlns:a16="http://schemas.microsoft.com/office/drawing/2014/main" id="{147C7580-5C80-4421-93DD-04E12790C455}"/>
              </a:ext>
            </a:extLst>
          </p:cNvPr>
          <p:cNvSpPr txBox="1"/>
          <p:nvPr userDrawn="1"/>
        </p:nvSpPr>
        <p:spPr>
          <a:xfrm>
            <a:off x="576740" y="2174803"/>
            <a:ext cx="1524536" cy="195814"/>
          </a:xfrm>
          <a:prstGeom prst="rect">
            <a:avLst/>
          </a:prstGeom>
          <a:noFill/>
        </p:spPr>
        <p:txBody>
          <a:bodyPr wrap="square" lIns="36000" tIns="36000" rIns="36000" bIns="36000" rtlCol="0">
            <a:spAutoFit/>
          </a:bodyPr>
          <a:lstStyle/>
          <a:p>
            <a:pPr algn="r"/>
            <a:r>
              <a:rPr lang="fr-FR" sz="800">
                <a:latin typeface="Verdana"/>
              </a:rPr>
              <a:t>Comité opérationnel</a:t>
            </a:r>
          </a:p>
        </p:txBody>
      </p:sp>
      <p:sp>
        <p:nvSpPr>
          <p:cNvPr id="89" name="Diamond 88">
            <a:extLst>
              <a:ext uri="{FF2B5EF4-FFF2-40B4-BE49-F238E27FC236}">
                <a16:creationId xmlns:a16="http://schemas.microsoft.com/office/drawing/2014/main" id="{E6EF4E02-9B94-4F6A-ACBD-F620C5EA957D}"/>
              </a:ext>
            </a:extLst>
          </p:cNvPr>
          <p:cNvSpPr/>
          <p:nvPr userDrawn="1"/>
        </p:nvSpPr>
        <p:spPr>
          <a:xfrm>
            <a:off x="2921499"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0" name="Diamond 89">
            <a:extLst>
              <a:ext uri="{FF2B5EF4-FFF2-40B4-BE49-F238E27FC236}">
                <a16:creationId xmlns:a16="http://schemas.microsoft.com/office/drawing/2014/main" id="{BEE3D911-0859-4701-A0BE-1EA3EE9805B4}"/>
              </a:ext>
            </a:extLst>
          </p:cNvPr>
          <p:cNvSpPr/>
          <p:nvPr userDrawn="1"/>
        </p:nvSpPr>
        <p:spPr>
          <a:xfrm>
            <a:off x="327699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1" name="Diamond 90">
            <a:extLst>
              <a:ext uri="{FF2B5EF4-FFF2-40B4-BE49-F238E27FC236}">
                <a16:creationId xmlns:a16="http://schemas.microsoft.com/office/drawing/2014/main" id="{44ABF033-1C2A-4114-903D-DBEF52F9DDF8}"/>
              </a:ext>
            </a:extLst>
          </p:cNvPr>
          <p:cNvSpPr/>
          <p:nvPr userDrawn="1"/>
        </p:nvSpPr>
        <p:spPr>
          <a:xfrm>
            <a:off x="4192073"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2" name="Diamond 91">
            <a:extLst>
              <a:ext uri="{FF2B5EF4-FFF2-40B4-BE49-F238E27FC236}">
                <a16:creationId xmlns:a16="http://schemas.microsoft.com/office/drawing/2014/main" id="{8B5E17D7-50AF-4FDC-976B-0A510217DB40}"/>
              </a:ext>
            </a:extLst>
          </p:cNvPr>
          <p:cNvSpPr/>
          <p:nvPr userDrawn="1"/>
        </p:nvSpPr>
        <p:spPr>
          <a:xfrm>
            <a:off x="4547572"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3" name="Diamond 92">
            <a:extLst>
              <a:ext uri="{FF2B5EF4-FFF2-40B4-BE49-F238E27FC236}">
                <a16:creationId xmlns:a16="http://schemas.microsoft.com/office/drawing/2014/main" id="{E2A8FB78-F9EE-4BB8-B8BC-54809856D877}"/>
              </a:ext>
            </a:extLst>
          </p:cNvPr>
          <p:cNvSpPr/>
          <p:nvPr userDrawn="1"/>
        </p:nvSpPr>
        <p:spPr>
          <a:xfrm>
            <a:off x="5280937"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4" name="Diamond 93">
            <a:extLst>
              <a:ext uri="{FF2B5EF4-FFF2-40B4-BE49-F238E27FC236}">
                <a16:creationId xmlns:a16="http://schemas.microsoft.com/office/drawing/2014/main" id="{FE756C11-9ADC-4876-B4BB-D1D1FC5DF668}"/>
              </a:ext>
            </a:extLst>
          </p:cNvPr>
          <p:cNvSpPr/>
          <p:nvPr userDrawn="1"/>
        </p:nvSpPr>
        <p:spPr>
          <a:xfrm>
            <a:off x="563643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5" name="Diamond 94">
            <a:extLst>
              <a:ext uri="{FF2B5EF4-FFF2-40B4-BE49-F238E27FC236}">
                <a16:creationId xmlns:a16="http://schemas.microsoft.com/office/drawing/2014/main" id="{D7A1B1CF-E657-4AEB-91DA-A9116484BB63}"/>
              </a:ext>
            </a:extLst>
          </p:cNvPr>
          <p:cNvSpPr/>
          <p:nvPr userDrawn="1"/>
        </p:nvSpPr>
        <p:spPr>
          <a:xfrm>
            <a:off x="6480043"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6" name="Diamond 95">
            <a:extLst>
              <a:ext uri="{FF2B5EF4-FFF2-40B4-BE49-F238E27FC236}">
                <a16:creationId xmlns:a16="http://schemas.microsoft.com/office/drawing/2014/main" id="{D418D778-DD6B-46A8-A962-A7302F6B0AD9}"/>
              </a:ext>
            </a:extLst>
          </p:cNvPr>
          <p:cNvSpPr/>
          <p:nvPr userDrawn="1"/>
        </p:nvSpPr>
        <p:spPr>
          <a:xfrm>
            <a:off x="6835541"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7" name="Diamond 96">
            <a:extLst>
              <a:ext uri="{FF2B5EF4-FFF2-40B4-BE49-F238E27FC236}">
                <a16:creationId xmlns:a16="http://schemas.microsoft.com/office/drawing/2014/main" id="{F27BC2E0-EC6E-410D-9808-E95681476AA3}"/>
              </a:ext>
            </a:extLst>
          </p:cNvPr>
          <p:cNvSpPr/>
          <p:nvPr userDrawn="1"/>
        </p:nvSpPr>
        <p:spPr>
          <a:xfrm>
            <a:off x="7890686"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8" name="Diamond 97">
            <a:extLst>
              <a:ext uri="{FF2B5EF4-FFF2-40B4-BE49-F238E27FC236}">
                <a16:creationId xmlns:a16="http://schemas.microsoft.com/office/drawing/2014/main" id="{B374BDFC-78AF-4079-A1BE-824A721F0E18}"/>
              </a:ext>
            </a:extLst>
          </p:cNvPr>
          <p:cNvSpPr/>
          <p:nvPr userDrawn="1"/>
        </p:nvSpPr>
        <p:spPr>
          <a:xfrm>
            <a:off x="8246185"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99" name="Diamond 98">
            <a:extLst>
              <a:ext uri="{FF2B5EF4-FFF2-40B4-BE49-F238E27FC236}">
                <a16:creationId xmlns:a16="http://schemas.microsoft.com/office/drawing/2014/main" id="{87AA56D3-49E9-4615-98E0-0366DFF2333A}"/>
              </a:ext>
            </a:extLst>
          </p:cNvPr>
          <p:cNvSpPr/>
          <p:nvPr userDrawn="1"/>
        </p:nvSpPr>
        <p:spPr>
          <a:xfrm>
            <a:off x="9062579" y="2388849"/>
            <a:ext cx="105771" cy="115305"/>
          </a:xfrm>
          <a:prstGeom prst="diamond">
            <a:avLst/>
          </a:prstGeom>
          <a:solidFill>
            <a:srgbClr val="2B143D">
              <a:lumMod val="90000"/>
              <a:lumOff val="1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100" name="Diamond 99">
            <a:extLst>
              <a:ext uri="{FF2B5EF4-FFF2-40B4-BE49-F238E27FC236}">
                <a16:creationId xmlns:a16="http://schemas.microsoft.com/office/drawing/2014/main" id="{211CE16C-A316-4B98-8C40-76D2EADB98A8}"/>
              </a:ext>
            </a:extLst>
          </p:cNvPr>
          <p:cNvSpPr/>
          <p:nvPr userDrawn="1"/>
        </p:nvSpPr>
        <p:spPr>
          <a:xfrm>
            <a:off x="9418077" y="2226781"/>
            <a:ext cx="105771" cy="115305"/>
          </a:xfrm>
          <a:prstGeom prst="diamond">
            <a:avLst/>
          </a:prstGeom>
          <a:solidFill>
            <a:srgbClr val="00C37B">
              <a:lumMod val="50000"/>
            </a:srgbClr>
          </a:solidFill>
          <a:ln w="12700" cap="flat" cmpd="sng" algn="ctr">
            <a:solidFill>
              <a:srgbClr val="002060"/>
            </a:solidFill>
            <a:prstDash val="solid"/>
            <a:miter lim="800000"/>
          </a:ln>
          <a:effectLst/>
        </p:spPr>
        <p:txBody>
          <a:bodyPr lIns="36000" tIns="36000" rIns="36000" bIns="360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FFFFFF"/>
              </a:solidFill>
              <a:effectLst/>
              <a:uLnTx/>
              <a:uFillTx/>
              <a:latin typeface="Verdana"/>
              <a:ea typeface="+mn-ea"/>
              <a:cs typeface="+mn-cs"/>
            </a:endParaRPr>
          </a:p>
        </p:txBody>
      </p:sp>
      <p:sp>
        <p:nvSpPr>
          <p:cNvPr id="101" name="TextBox 100">
            <a:extLst>
              <a:ext uri="{FF2B5EF4-FFF2-40B4-BE49-F238E27FC236}">
                <a16:creationId xmlns:a16="http://schemas.microsoft.com/office/drawing/2014/main" id="{650E1306-63F4-4163-90E3-12C6444A3D3F}"/>
              </a:ext>
            </a:extLst>
          </p:cNvPr>
          <p:cNvSpPr txBox="1"/>
          <p:nvPr userDrawn="1"/>
        </p:nvSpPr>
        <p:spPr>
          <a:xfrm>
            <a:off x="712761" y="2621550"/>
            <a:ext cx="1291873" cy="195814"/>
          </a:xfrm>
          <a:prstGeom prst="rect">
            <a:avLst/>
          </a:prstGeom>
          <a:noFill/>
        </p:spPr>
        <p:txBody>
          <a:bodyPr wrap="square" lIns="36000" tIns="36000" rIns="36000" bIns="36000" rtlCol="0">
            <a:spAutoFit/>
          </a:bodyPr>
          <a:lstStyle/>
          <a:p>
            <a:pPr algn="r"/>
            <a:r>
              <a:rPr lang="fr-FR" sz="800">
                <a:latin typeface="Verdana"/>
              </a:rPr>
              <a:t>Weekly Event Data</a:t>
            </a:r>
          </a:p>
        </p:txBody>
      </p:sp>
    </p:spTree>
    <p:extLst>
      <p:ext uri="{BB962C8B-B14F-4D97-AF65-F5344CB8AC3E}">
        <p14:creationId xmlns:p14="http://schemas.microsoft.com/office/powerpoint/2010/main" val="1706808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081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341841469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92140074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4883175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20421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393736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669781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129227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29983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09600" y="1815353"/>
            <a:ext cx="10972800" cy="4301815"/>
          </a:xfrm>
        </p:spPr>
        <p:txBody>
          <a:bodyPr numCol="1">
            <a:normAutofit/>
          </a:bodyPr>
          <a:lstStyle>
            <a:lvl1pPr>
              <a:spcBef>
                <a:spcPts val="0"/>
              </a:spcBef>
              <a:buSzPct val="110000"/>
              <a:defRPr sz="1600" b="0"/>
            </a:lvl1pPr>
            <a:lvl2pPr marL="831830" indent="-351358">
              <a:spcBef>
                <a:spcPts val="0"/>
              </a:spcBef>
              <a:defRPr sz="1600"/>
            </a:lvl2pPr>
            <a:lvl3pPr marL="1314418" indent="-361942">
              <a:spcBef>
                <a:spcPts val="0"/>
              </a:spcBef>
              <a:buClrTx/>
              <a:defRPr sz="1600"/>
            </a:lvl3pPr>
            <a:lvl4pPr marL="1794888" indent="-361942">
              <a:spcBef>
                <a:spcPts val="0"/>
              </a:spcBef>
              <a:buClrTx/>
              <a:defRPr sz="1467"/>
            </a:lvl4pPr>
            <a:lvl5pPr>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a:p>
            <a:pPr lvl="3"/>
            <a:endParaRPr lang="fr-FR"/>
          </a:p>
        </p:txBody>
      </p:sp>
      <p:sp>
        <p:nvSpPr>
          <p:cNvPr id="6" name="Title 1">
            <a:extLst>
              <a:ext uri="{FF2B5EF4-FFF2-40B4-BE49-F238E27FC236}">
                <a16:creationId xmlns:a16="http://schemas.microsoft.com/office/drawing/2014/main" id="{6CE65DBF-44B7-48C8-91E1-353CAB161A80}"/>
              </a:ext>
            </a:extLst>
          </p:cNvPr>
          <p:cNvSpPr>
            <a:spLocks noGrp="1"/>
          </p:cNvSpPr>
          <p:nvPr>
            <p:ph type="title"/>
          </p:nvPr>
        </p:nvSpPr>
        <p:spPr>
          <a:xfrm>
            <a:off x="640080" y="91440"/>
            <a:ext cx="10972800" cy="865739"/>
          </a:xfrm>
        </p:spPr>
        <p:txBody>
          <a:bodyPr vert="horz" lIns="0" tIns="180000" rIns="0" bIns="0" rtlCol="0" anchor="t">
            <a:noAutofit/>
          </a:bodyPr>
          <a:lstStyle>
            <a:lvl1pPr>
              <a:defRPr lang="en-GB" dirty="0"/>
            </a:lvl1pPr>
          </a:lstStyle>
          <a:p>
            <a:pPr lvl="0"/>
            <a:r>
              <a:rPr lang="fr-FR"/>
              <a:t>Modifiez le style du titre</a:t>
            </a:r>
            <a:endParaRPr lang="en-GB"/>
          </a:p>
        </p:txBody>
      </p:sp>
    </p:spTree>
    <p:extLst>
      <p:ext uri="{BB962C8B-B14F-4D97-AF65-F5344CB8AC3E}">
        <p14:creationId xmlns:p14="http://schemas.microsoft.com/office/powerpoint/2010/main" val="21359820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49057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48265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6614915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pic>
        <p:nvPicPr>
          <p:cNvPr id="6" name="Picture 2" descr="BNP Paribas CIB AlumnEye | AlumnEye Preparation entretien M&amp;A, Trading,  Conseil en Stratégie">
            <a:extLst>
              <a:ext uri="{FF2B5EF4-FFF2-40B4-BE49-F238E27FC236}">
                <a16:creationId xmlns:a16="http://schemas.microsoft.com/office/drawing/2014/main" id="{C182B0B4-F9D9-498D-8D64-850B91860224}"/>
              </a:ext>
            </a:extLst>
          </p:cNvPr>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79902" y="6488296"/>
            <a:ext cx="1432196" cy="290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596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30708163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14039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9490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7747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26639798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240596891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oid">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FD19E731-8E64-439C-A4AE-D62FDB67583C}"/>
              </a:ext>
            </a:extLst>
          </p:cNvPr>
          <p:cNvSpPr txBox="1">
            <a:spLocks/>
          </p:cNvSpPr>
          <p:nvPr userDrawn="1"/>
        </p:nvSpPr>
        <p:spPr>
          <a:xfrm>
            <a:off x="9347200" y="6330918"/>
            <a:ext cx="28448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a:t>
            </a:fld>
            <a:endParaRPr lang="fr-FR" sz="1333"/>
          </a:p>
        </p:txBody>
      </p:sp>
      <p:pic>
        <p:nvPicPr>
          <p:cNvPr id="3" name="Image 3">
            <a:extLst>
              <a:ext uri="{FF2B5EF4-FFF2-40B4-BE49-F238E27FC236}">
                <a16:creationId xmlns:a16="http://schemas.microsoft.com/office/drawing/2014/main" id="{8734E0FB-DB0B-4682-AE3E-A673ACFAE34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35" b="858"/>
          <a:stretch/>
        </p:blipFill>
        <p:spPr>
          <a:xfrm>
            <a:off x="0" y="0"/>
            <a:ext cx="12192000" cy="6858000"/>
          </a:xfrm>
          <a:prstGeom prst="rect">
            <a:avLst/>
          </a:prstGeom>
        </p:spPr>
      </p:pic>
      <p:sp>
        <p:nvSpPr>
          <p:cNvPr id="4" name="Title 3">
            <a:extLst>
              <a:ext uri="{FF2B5EF4-FFF2-40B4-BE49-F238E27FC236}">
                <a16:creationId xmlns:a16="http://schemas.microsoft.com/office/drawing/2014/main" id="{5644A538-28E7-4FD1-8B65-3FCCC2041522}"/>
              </a:ext>
            </a:extLst>
          </p:cNvPr>
          <p:cNvSpPr>
            <a:spLocks noGrp="1"/>
          </p:cNvSpPr>
          <p:nvPr>
            <p:ph type="title"/>
          </p:nvPr>
        </p:nvSpPr>
        <p:spPr>
          <a:xfrm>
            <a:off x="609600" y="4846320"/>
            <a:ext cx="10972800" cy="538480"/>
          </a:xfrm>
        </p:spPr>
        <p:txBody>
          <a:bodyPr/>
          <a:lstStyle>
            <a:lvl1pPr algn="ctr">
              <a:defRPr>
                <a:solidFill>
                  <a:schemeClr val="bg1"/>
                </a:solidFill>
              </a:defRPr>
            </a:lvl1pPr>
          </a:lstStyle>
          <a:p>
            <a:r>
              <a:rPr lang="en-US"/>
              <a:t>Click to edit Master title style</a:t>
            </a:r>
            <a:endParaRPr lang="fr-FR"/>
          </a:p>
        </p:txBody>
      </p:sp>
      <p:sp>
        <p:nvSpPr>
          <p:cNvPr id="15" name="Text Placeholder 14">
            <a:extLst>
              <a:ext uri="{FF2B5EF4-FFF2-40B4-BE49-F238E27FC236}">
                <a16:creationId xmlns:a16="http://schemas.microsoft.com/office/drawing/2014/main" id="{D2F0C5CF-88C9-47A6-8CC1-31C630BF0303}"/>
              </a:ext>
            </a:extLst>
          </p:cNvPr>
          <p:cNvSpPr>
            <a:spLocks noGrp="1"/>
          </p:cNvSpPr>
          <p:nvPr>
            <p:ph type="body" sz="quarter" idx="10"/>
          </p:nvPr>
        </p:nvSpPr>
        <p:spPr>
          <a:xfrm>
            <a:off x="609600" y="5465780"/>
            <a:ext cx="10972800" cy="537633"/>
          </a:xfrm>
          <a:prstGeom prst="rect">
            <a:avLst/>
          </a:prstGeom>
        </p:spPr>
        <p:txBody>
          <a:bodyPr anchor="ctr"/>
          <a:lstStyle>
            <a:lvl1pPr marL="169329" indent="0">
              <a:buNone/>
              <a:defRPr sz="1867"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Subtitle 2">
            <a:extLst>
              <a:ext uri="{FF2B5EF4-FFF2-40B4-BE49-F238E27FC236}">
                <a16:creationId xmlns:a16="http://schemas.microsoft.com/office/drawing/2014/main" id="{370F8001-E28C-492C-BC71-57C0DE0617CC}"/>
              </a:ext>
            </a:extLst>
          </p:cNvPr>
          <p:cNvSpPr>
            <a:spLocks noGrp="1"/>
          </p:cNvSpPr>
          <p:nvPr>
            <p:ph type="subTitle" idx="1" hasCustomPrompt="1"/>
          </p:nvPr>
        </p:nvSpPr>
        <p:spPr>
          <a:xfrm>
            <a:off x="609601" y="6171101"/>
            <a:ext cx="5882640" cy="453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169329" indent="0">
              <a:lnSpc>
                <a:spcPct val="100000"/>
              </a:lnSpc>
              <a:spcBef>
                <a:spcPts val="0"/>
              </a:spcBef>
              <a:buNone/>
              <a:defRPr lang="en-US" sz="1867" b="0" i="0" u="none" strike="noStrike" cap="none" dirty="0">
                <a:solidFill>
                  <a:schemeClr val="bg1"/>
                </a:solidFill>
                <a:latin typeface="Arial"/>
                <a:ea typeface="Arial"/>
                <a:cs typeface="Arial"/>
                <a:sym typeface="Arial"/>
              </a:defRPr>
            </a:lvl1pPr>
          </a:lstStyle>
          <a:p>
            <a:pPr marL="169329" marR="0" lvl="0" indent="0" algn="l" rtl="0" fontAlgn="auto">
              <a:lnSpc>
                <a:spcPct val="100000"/>
              </a:lnSpc>
              <a:spcBef>
                <a:spcPts val="427"/>
              </a:spcBef>
              <a:spcAft>
                <a:spcPts val="0"/>
              </a:spcAft>
              <a:buClr>
                <a:srgbClr val="003A70"/>
              </a:buClr>
              <a:buSzPts val="1600"/>
              <a:buFont typeface="Arial"/>
              <a:buNone/>
              <a:tabLst/>
            </a:pPr>
            <a:r>
              <a:rPr lang="en-US"/>
              <a:t>Click to insert presenter, location, and date</a:t>
            </a:r>
          </a:p>
        </p:txBody>
      </p:sp>
      <p:sp>
        <p:nvSpPr>
          <p:cNvPr id="7" name="Rectangle: Rounded Corners 6">
            <a:extLst>
              <a:ext uri="{FF2B5EF4-FFF2-40B4-BE49-F238E27FC236}">
                <a16:creationId xmlns:a16="http://schemas.microsoft.com/office/drawing/2014/main" id="{9179630A-9B6F-4A57-8A93-472E88ED016D}"/>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8" name="Rectangle: Rounded Corners 7">
            <a:extLst>
              <a:ext uri="{FF2B5EF4-FFF2-40B4-BE49-F238E27FC236}">
                <a16:creationId xmlns:a16="http://schemas.microsoft.com/office/drawing/2014/main" id="{EC1D515B-2541-446A-9725-4091E52331C8}"/>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9" name="Rectangle: Rounded Corners 8">
            <a:extLst>
              <a:ext uri="{FF2B5EF4-FFF2-40B4-BE49-F238E27FC236}">
                <a16:creationId xmlns:a16="http://schemas.microsoft.com/office/drawing/2014/main" id="{E4D7BD1D-920F-464B-A135-D1E845744823}"/>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0" name="Rectangle: Rounded Corners 9">
            <a:extLst>
              <a:ext uri="{FF2B5EF4-FFF2-40B4-BE49-F238E27FC236}">
                <a16:creationId xmlns:a16="http://schemas.microsoft.com/office/drawing/2014/main" id="{CDDDA7C3-97B6-47E9-ABBA-2B5C668757D3}"/>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1" name="Rectangle: Rounded Corners 10">
            <a:extLst>
              <a:ext uri="{FF2B5EF4-FFF2-40B4-BE49-F238E27FC236}">
                <a16:creationId xmlns:a16="http://schemas.microsoft.com/office/drawing/2014/main" id="{BB2ACEED-3DAF-42D8-ABA6-CE3FCAB3F048}"/>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2" name="Rectangle: Rounded Corners 11">
            <a:extLst>
              <a:ext uri="{FF2B5EF4-FFF2-40B4-BE49-F238E27FC236}">
                <a16:creationId xmlns:a16="http://schemas.microsoft.com/office/drawing/2014/main" id="{C42F2473-5EAC-46BF-8F41-88AECE9457C9}"/>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3" name="Rectangle: Rounded Corners 12">
            <a:extLst>
              <a:ext uri="{FF2B5EF4-FFF2-40B4-BE49-F238E27FC236}">
                <a16:creationId xmlns:a16="http://schemas.microsoft.com/office/drawing/2014/main" id="{729A07A9-143B-4761-A506-E10A47CCE836}"/>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1614200976"/>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19294477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185951965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408556476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66293202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166212178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9635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985949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026325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504214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05761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Void">
    <p:bg>
      <p:bgRef idx="1001">
        <a:schemeClr val="bg1"/>
      </p:bgRef>
    </p:bg>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FD19E731-8E64-439C-A4AE-D62FDB67583C}"/>
              </a:ext>
            </a:extLst>
          </p:cNvPr>
          <p:cNvSpPr txBox="1">
            <a:spLocks/>
          </p:cNvSpPr>
          <p:nvPr userDrawn="1"/>
        </p:nvSpPr>
        <p:spPr>
          <a:xfrm>
            <a:off x="9347200" y="6330918"/>
            <a:ext cx="284480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a:t>
            </a:fld>
            <a:endParaRPr lang="fr-FR" sz="1333"/>
          </a:p>
        </p:txBody>
      </p:sp>
      <p:sp>
        <p:nvSpPr>
          <p:cNvPr id="4" name="Title 3">
            <a:extLst>
              <a:ext uri="{FF2B5EF4-FFF2-40B4-BE49-F238E27FC236}">
                <a16:creationId xmlns:a16="http://schemas.microsoft.com/office/drawing/2014/main" id="{5644A538-28E7-4FD1-8B65-3FCCC2041522}"/>
              </a:ext>
            </a:extLst>
          </p:cNvPr>
          <p:cNvSpPr>
            <a:spLocks noGrp="1"/>
          </p:cNvSpPr>
          <p:nvPr>
            <p:ph type="title"/>
          </p:nvPr>
        </p:nvSpPr>
        <p:spPr>
          <a:xfrm>
            <a:off x="609600" y="4846320"/>
            <a:ext cx="10972800" cy="538480"/>
          </a:xfrm>
        </p:spPr>
        <p:txBody>
          <a:bodyPr/>
          <a:lstStyle>
            <a:lvl1pPr algn="ctr">
              <a:defRPr>
                <a:solidFill>
                  <a:srgbClr val="004575"/>
                </a:solidFill>
              </a:defRPr>
            </a:lvl1pPr>
          </a:lstStyle>
          <a:p>
            <a:r>
              <a:rPr lang="en-US"/>
              <a:t>Click to edit Master title style</a:t>
            </a:r>
            <a:endParaRPr lang="fr-FR"/>
          </a:p>
        </p:txBody>
      </p:sp>
      <p:sp>
        <p:nvSpPr>
          <p:cNvPr id="15" name="Text Placeholder 14">
            <a:extLst>
              <a:ext uri="{FF2B5EF4-FFF2-40B4-BE49-F238E27FC236}">
                <a16:creationId xmlns:a16="http://schemas.microsoft.com/office/drawing/2014/main" id="{D2F0C5CF-88C9-47A6-8CC1-31C630BF0303}"/>
              </a:ext>
            </a:extLst>
          </p:cNvPr>
          <p:cNvSpPr>
            <a:spLocks noGrp="1"/>
          </p:cNvSpPr>
          <p:nvPr>
            <p:ph type="body" sz="quarter" idx="10"/>
          </p:nvPr>
        </p:nvSpPr>
        <p:spPr>
          <a:xfrm>
            <a:off x="609600" y="5465780"/>
            <a:ext cx="10972800" cy="537633"/>
          </a:xfrm>
          <a:prstGeom prst="rect">
            <a:avLst/>
          </a:prstGeom>
        </p:spPr>
        <p:txBody>
          <a:bodyPr anchor="ctr"/>
          <a:lstStyle>
            <a:lvl1pPr marL="169329" indent="0">
              <a:buNone/>
              <a:defRPr sz="1867" b="0">
                <a:solidFill>
                  <a:srgbClr val="00457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Subtitle 2">
            <a:extLst>
              <a:ext uri="{FF2B5EF4-FFF2-40B4-BE49-F238E27FC236}">
                <a16:creationId xmlns:a16="http://schemas.microsoft.com/office/drawing/2014/main" id="{370F8001-E28C-492C-BC71-57C0DE0617CC}"/>
              </a:ext>
            </a:extLst>
          </p:cNvPr>
          <p:cNvSpPr>
            <a:spLocks noGrp="1"/>
          </p:cNvSpPr>
          <p:nvPr>
            <p:ph type="subTitle" idx="1" hasCustomPrompt="1"/>
          </p:nvPr>
        </p:nvSpPr>
        <p:spPr>
          <a:xfrm>
            <a:off x="609601" y="6171101"/>
            <a:ext cx="5882640" cy="453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169329" indent="0">
              <a:lnSpc>
                <a:spcPct val="100000"/>
              </a:lnSpc>
              <a:spcBef>
                <a:spcPts val="0"/>
              </a:spcBef>
              <a:buNone/>
              <a:defRPr lang="en-US" sz="1867" b="0" i="0" u="none" strike="noStrike" cap="none" dirty="0">
                <a:solidFill>
                  <a:srgbClr val="004575"/>
                </a:solidFill>
                <a:latin typeface="Arial"/>
                <a:ea typeface="Arial"/>
                <a:cs typeface="Arial"/>
                <a:sym typeface="Arial"/>
              </a:defRPr>
            </a:lvl1pPr>
          </a:lstStyle>
          <a:p>
            <a:pPr marL="169329" marR="0" lvl="0" indent="0" algn="l" rtl="0" fontAlgn="auto">
              <a:lnSpc>
                <a:spcPct val="100000"/>
              </a:lnSpc>
              <a:spcBef>
                <a:spcPts val="427"/>
              </a:spcBef>
              <a:spcAft>
                <a:spcPts val="0"/>
              </a:spcAft>
              <a:buClr>
                <a:srgbClr val="003A70"/>
              </a:buClr>
              <a:buSzPts val="1600"/>
              <a:buFont typeface="Arial"/>
              <a:buNone/>
              <a:tabLst/>
            </a:pPr>
            <a:r>
              <a:rPr lang="en-US"/>
              <a:t>Click to insert presenter, location, and date</a:t>
            </a:r>
          </a:p>
        </p:txBody>
      </p:sp>
      <p:pic>
        <p:nvPicPr>
          <p:cNvPr id="9" name="Picture 8" descr="A picture containing logo&#10;&#10;Description automatically generated">
            <a:extLst>
              <a:ext uri="{FF2B5EF4-FFF2-40B4-BE49-F238E27FC236}">
                <a16:creationId xmlns:a16="http://schemas.microsoft.com/office/drawing/2014/main" id="{58102703-2645-44CC-8B02-A77A743E09AB}"/>
              </a:ext>
            </a:extLst>
          </p:cNvPr>
          <p:cNvPicPr>
            <a:picLocks noChangeAspect="1"/>
          </p:cNvPicPr>
          <p:nvPr userDrawn="1"/>
        </p:nvPicPr>
        <p:blipFill>
          <a:blip r:embed="rId2"/>
          <a:stretch>
            <a:fillRect/>
          </a:stretch>
        </p:blipFill>
        <p:spPr>
          <a:xfrm>
            <a:off x="3961629" y="1954449"/>
            <a:ext cx="4291512" cy="2856000"/>
          </a:xfrm>
          <a:prstGeom prst="rect">
            <a:avLst/>
          </a:prstGeom>
        </p:spPr>
      </p:pic>
      <p:sp>
        <p:nvSpPr>
          <p:cNvPr id="7" name="Rectangle: Rounded Corners 6">
            <a:extLst>
              <a:ext uri="{FF2B5EF4-FFF2-40B4-BE49-F238E27FC236}">
                <a16:creationId xmlns:a16="http://schemas.microsoft.com/office/drawing/2014/main" id="{DF40A0AF-9CBE-4F8A-9D17-E3A2E9E8CD18}"/>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8" name="Rectangle: Rounded Corners 7">
            <a:extLst>
              <a:ext uri="{FF2B5EF4-FFF2-40B4-BE49-F238E27FC236}">
                <a16:creationId xmlns:a16="http://schemas.microsoft.com/office/drawing/2014/main" id="{3D690A3B-DF4E-4888-9C6C-0F49E6B41945}"/>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10" name="Rectangle: Rounded Corners 9">
            <a:extLst>
              <a:ext uri="{FF2B5EF4-FFF2-40B4-BE49-F238E27FC236}">
                <a16:creationId xmlns:a16="http://schemas.microsoft.com/office/drawing/2014/main" id="{FAB74479-A5B0-4914-9D5B-F3EB64A8B59F}"/>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1" name="Rectangle: Rounded Corners 10">
            <a:extLst>
              <a:ext uri="{FF2B5EF4-FFF2-40B4-BE49-F238E27FC236}">
                <a16:creationId xmlns:a16="http://schemas.microsoft.com/office/drawing/2014/main" id="{9ED4D8A8-D56C-4011-9D96-7BBAC03C1085}"/>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2" name="Rectangle: Rounded Corners 11">
            <a:extLst>
              <a:ext uri="{FF2B5EF4-FFF2-40B4-BE49-F238E27FC236}">
                <a16:creationId xmlns:a16="http://schemas.microsoft.com/office/drawing/2014/main" id="{0E84E024-2670-49D8-8CDE-8DBFFF3FD22A}"/>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3" name="Rectangle: Rounded Corners 12">
            <a:extLst>
              <a:ext uri="{FF2B5EF4-FFF2-40B4-BE49-F238E27FC236}">
                <a16:creationId xmlns:a16="http://schemas.microsoft.com/office/drawing/2014/main" id="{31A31416-DFCA-48B8-9F3C-12892807D77E}"/>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4" name="Rectangle: Rounded Corners 13">
            <a:extLst>
              <a:ext uri="{FF2B5EF4-FFF2-40B4-BE49-F238E27FC236}">
                <a16:creationId xmlns:a16="http://schemas.microsoft.com/office/drawing/2014/main" id="{9BF99CDC-7DFE-457E-9746-FBC3FC2F74C7}"/>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3931384682"/>
      </p:ext>
    </p:extLst>
  </p:cSld>
  <p:clrMapOvr>
    <a:overrideClrMapping bg1="lt1" tx1="dk1" bg2="lt2" tx2="dk2" accent1="accent1" accent2="accent2" accent3="accent3" accent4="accent4" accent5="accent5" accent6="accent6" hlink="hlink" folHlink="folHlink"/>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75683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945879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012760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159131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50390475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1598922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5785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64358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6070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132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Tree>
    <p:extLst>
      <p:ext uri="{BB962C8B-B14F-4D97-AF65-F5344CB8AC3E}">
        <p14:creationId xmlns:p14="http://schemas.microsoft.com/office/powerpoint/2010/main" val="2130050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461770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941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3982725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As the digital innovation, consulting and transformation brand of the Capgemini Group, Capgemini Invent helps </a:t>
            </a:r>
            <a:r>
              <a:rPr lang="en-GB" sz="900" kern="1200" err="1">
                <a:solidFill>
                  <a:schemeClr val="lt1"/>
                </a:solidFill>
                <a:effectLst/>
                <a:latin typeface="+mn-lt"/>
                <a:ea typeface="+mn-ea"/>
                <a:cs typeface="+mn-cs"/>
              </a:rPr>
              <a:t>CxOs</a:t>
            </a:r>
            <a:r>
              <a:rPr lang="en-GB" sz="900" kern="1200">
                <a:solidFill>
                  <a:schemeClr val="lt1"/>
                </a:solidFill>
                <a:effectLst/>
                <a:latin typeface="+mn-lt"/>
                <a:ea typeface="+mn-ea"/>
                <a:cs typeface="+mn-cs"/>
              </a:rPr>
              <a:t> envision and build what’s next for their organizations. Located in more than 30 offices and 25 creative studios around the </a:t>
            </a:r>
            <a:r>
              <a:rPr lang="en-GB" sz="900" kern="1200" err="1">
                <a:solidFill>
                  <a:schemeClr val="lt1"/>
                </a:solidFill>
                <a:effectLst/>
                <a:latin typeface="+mn-lt"/>
                <a:ea typeface="+mn-ea"/>
                <a:cs typeface="+mn-cs"/>
              </a:rPr>
              <a:t>world,its</a:t>
            </a:r>
            <a:r>
              <a:rPr lang="en-GB" sz="900" kern="1200">
                <a:solidFill>
                  <a:schemeClr val="lt1"/>
                </a:solidFill>
                <a:effectLst/>
                <a:latin typeface="+mn-lt"/>
                <a:ea typeface="+mn-ea"/>
                <a:cs typeface="+mn-cs"/>
              </a:rPr>
              <a:t> 7,000+ strong team combines strategy, technology, data science and creative design with deep industry expertise and insights, to develop new digital solutions and business models</a:t>
            </a:r>
            <a:br>
              <a:rPr lang="en-GB" sz="900" kern="1200">
                <a:solidFill>
                  <a:schemeClr val="lt1"/>
                </a:solidFill>
                <a:effectLst/>
                <a:latin typeface="+mn-lt"/>
                <a:ea typeface="+mn-ea"/>
                <a:cs typeface="+mn-cs"/>
              </a:rPr>
            </a:br>
            <a:r>
              <a:rPr lang="en-GB" sz="900" kern="1200">
                <a:solidFill>
                  <a:schemeClr val="lt1"/>
                </a:solidFill>
                <a:effectLst/>
                <a:latin typeface="+mn-lt"/>
                <a:ea typeface="+mn-ea"/>
                <a:cs typeface="+mn-cs"/>
              </a:rPr>
              <a:t>of the future.</a:t>
            </a:r>
            <a:endParaRPr lang="en-US" sz="900" kern="1200">
              <a:solidFill>
                <a:schemeClr val="lt1"/>
              </a:solidFill>
              <a:effectLst/>
              <a:latin typeface="+mn-lt"/>
              <a:ea typeface="+mn-ea"/>
              <a:cs typeface="+mn-cs"/>
            </a:endParaRPr>
          </a:p>
          <a:p>
            <a:pPr algn="just"/>
            <a:r>
              <a:rPr lang="en-GB" sz="900" b="1"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337316042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66977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As the digital innovation, consulting and transformation brand of the Capgemini Group, Capgemini Invent helps </a:t>
            </a:r>
            <a:r>
              <a:rPr lang="en-GB" sz="900" kern="1200" err="1">
                <a:solidFill>
                  <a:schemeClr val="lt1"/>
                </a:solidFill>
                <a:effectLst/>
                <a:latin typeface="+mn-lt"/>
                <a:ea typeface="+mn-ea"/>
                <a:cs typeface="+mn-cs"/>
              </a:rPr>
              <a:t>CxOs</a:t>
            </a:r>
            <a:r>
              <a:rPr lang="en-GB" sz="900" kern="1200">
                <a:solidFill>
                  <a:schemeClr val="lt1"/>
                </a:solidFill>
                <a:effectLst/>
                <a:latin typeface="+mn-lt"/>
                <a:ea typeface="+mn-ea"/>
                <a:cs typeface="+mn-cs"/>
              </a:rPr>
              <a:t> envision and build what’s next for their organizations. Located in more than 30 offices and 25 creative studios around the </a:t>
            </a:r>
            <a:r>
              <a:rPr lang="en-GB" sz="900" kern="1200" err="1">
                <a:solidFill>
                  <a:schemeClr val="lt1"/>
                </a:solidFill>
                <a:effectLst/>
                <a:latin typeface="+mn-lt"/>
                <a:ea typeface="+mn-ea"/>
                <a:cs typeface="+mn-cs"/>
              </a:rPr>
              <a:t>world,its</a:t>
            </a:r>
            <a:r>
              <a:rPr lang="en-GB" sz="900" kern="1200">
                <a:solidFill>
                  <a:schemeClr val="lt1"/>
                </a:solidFill>
                <a:effectLst/>
                <a:latin typeface="+mn-lt"/>
                <a:ea typeface="+mn-ea"/>
                <a:cs typeface="+mn-cs"/>
              </a:rPr>
              <a:t> 7,000+ strong team combines strategy, technology, data science and creative design with deep industry expertise and insights, to develop new digital solutions and business models of the future.</a:t>
            </a:r>
            <a:endParaRPr lang="en-US" sz="900" kern="1200">
              <a:solidFill>
                <a:schemeClr val="lt1"/>
              </a:solidFill>
              <a:effectLst/>
              <a:latin typeface="+mn-lt"/>
              <a:ea typeface="+mn-ea"/>
              <a:cs typeface="+mn-cs"/>
            </a:endParaRPr>
          </a:p>
          <a:p>
            <a:pPr algn="just"/>
            <a:r>
              <a:rPr lang="en-GB" sz="900" b="1"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2704232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185613912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Picture 7">
            <a:extLst>
              <a:ext uri="{FF2B5EF4-FFF2-40B4-BE49-F238E27FC236}">
                <a16:creationId xmlns:a16="http://schemas.microsoft.com/office/drawing/2014/main" id="{58B99164-E438-4D2B-9A2D-FE2F077F7E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150" y="104694"/>
            <a:ext cx="4024242" cy="1212215"/>
          </a:xfrm>
          <a:prstGeom prst="rect">
            <a:avLst/>
          </a:prstGeom>
        </p:spPr>
      </p:pic>
    </p:spTree>
    <p:extLst>
      <p:ext uri="{BB962C8B-B14F-4D97-AF65-F5344CB8AC3E}">
        <p14:creationId xmlns:p14="http://schemas.microsoft.com/office/powerpoint/2010/main" val="883632815"/>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853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0281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accent4"/>
        </a:solidFill>
        <a:effectLst/>
      </p:bgPr>
    </p:bg>
    <p:spTree>
      <p:nvGrpSpPr>
        <p:cNvPr id="1" name=""/>
        <p:cNvGrpSpPr/>
        <p:nvPr/>
      </p:nvGrpSpPr>
      <p:grpSpPr>
        <a:xfrm>
          <a:off x="0" y="0"/>
          <a:ext cx="0" cy="0"/>
          <a:chOff x="0" y="0"/>
          <a:chExt cx="0" cy="0"/>
        </a:xfrm>
      </p:grpSpPr>
      <p:pic>
        <p:nvPicPr>
          <p:cNvPr id="20" name="SEC3" hidden="1">
            <a:extLst>
              <a:ext uri="{FF2B5EF4-FFF2-40B4-BE49-F238E27FC236}">
                <a16:creationId xmlns:a16="http://schemas.microsoft.com/office/drawing/2014/main" id="{2B730AAE-5893-48BB-B68B-34FC031EF0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pic>
        <p:nvPicPr>
          <p:cNvPr id="15" name="SEC2" hidden="1">
            <a:extLst>
              <a:ext uri="{FF2B5EF4-FFF2-40B4-BE49-F238E27FC236}">
                <a16:creationId xmlns:a16="http://schemas.microsoft.com/office/drawing/2014/main" id="{1EFAA2F6-38D2-4DA5-B757-007B418BA5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pic>
        <p:nvPicPr>
          <p:cNvPr id="18" name="SEC1">
            <a:extLst>
              <a:ext uri="{FF2B5EF4-FFF2-40B4-BE49-F238E27FC236}">
                <a16:creationId xmlns:a16="http://schemas.microsoft.com/office/drawing/2014/main" id="{D13F5321-C250-4903-9C41-09C70A16BDF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58037" y="5742781"/>
            <a:ext cx="719250" cy="720000"/>
          </a:xfrm>
          <a:prstGeom prst="rect">
            <a:avLst/>
          </a:prstGeom>
        </p:spPr>
      </p:pic>
      <p:pic>
        <p:nvPicPr>
          <p:cNvPr id="16" name="SEC0" hidden="1">
            <a:extLst>
              <a:ext uri="{FF2B5EF4-FFF2-40B4-BE49-F238E27FC236}">
                <a16:creationId xmlns:a16="http://schemas.microsoft.com/office/drawing/2014/main" id="{C7C7759B-457D-45A1-801D-266388AA15B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sp>
        <p:nvSpPr>
          <p:cNvPr id="8" name="Shape 04-Vibrant Blue">
            <a:extLst>
              <a:ext uri="{FF2B5EF4-FFF2-40B4-BE49-F238E27FC236}">
                <a16:creationId xmlns:a16="http://schemas.microsoft.com/office/drawing/2014/main" id="{68C1791F-2C9A-4EA7-86D3-5205876DA5B1}"/>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4242574"/>
            <a:ext cx="11379200" cy="307777"/>
          </a:xfrm>
        </p:spPr>
        <p:txBody>
          <a:bodyPr wrap="square" lIns="36000" tIns="0" rIns="36000">
            <a:no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339007"/>
            <a:ext cx="11386134" cy="2031325"/>
          </a:xfrm>
          <a:prstGeom prst="rect">
            <a:avLst/>
          </a:prstGeom>
        </p:spPr>
        <p:txBody>
          <a:bodyPr wrap="square" lIns="0" rIns="0" bIns="0" anchor="b" anchorCtr="0">
            <a:noAutofit/>
          </a:bodyPr>
          <a:lstStyle>
            <a:lvl1pPr algn="l">
              <a:lnSpc>
                <a:spcPct val="100000"/>
              </a:lnSpc>
              <a:defRPr sz="6600" b="1" baseline="0">
                <a:solidFill>
                  <a:schemeClr val="bg1"/>
                </a:solidFill>
                <a:latin typeface="+mn-lt"/>
              </a:defRPr>
            </a:lvl1pPr>
          </a:lstStyle>
          <a:p>
            <a:r>
              <a:rPr lang="en-US"/>
              <a:t>Click to </a:t>
            </a:r>
            <a:br>
              <a:rPr lang="en-US"/>
            </a:br>
            <a:r>
              <a:rPr lang="en-US"/>
              <a:t>insert Title</a:t>
            </a:r>
            <a:endParaRPr lang="en-GB"/>
          </a:p>
        </p:txBody>
      </p:sp>
      <p:pic>
        <p:nvPicPr>
          <p:cNvPr id="5" name="Graphic 4">
            <a:extLst>
              <a:ext uri="{FF2B5EF4-FFF2-40B4-BE49-F238E27FC236}">
                <a16:creationId xmlns:a16="http://schemas.microsoft.com/office/drawing/2014/main" id="{94DDBE63-E1AD-49F4-BD7F-17E43C4AAD0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59084" y="260670"/>
            <a:ext cx="3016065" cy="1226133"/>
          </a:xfrm>
          <a:prstGeom prst="rect">
            <a:avLst/>
          </a:prstGeom>
        </p:spPr>
      </p:pic>
    </p:spTree>
    <p:extLst>
      <p:ext uri="{BB962C8B-B14F-4D97-AF65-F5344CB8AC3E}">
        <p14:creationId xmlns:p14="http://schemas.microsoft.com/office/powerpoint/2010/main" val="345581010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CEC66F7-E477-4460-A4F1-BAA51304D5B4}"/>
              </a:ext>
            </a:extLst>
          </p:cNvPr>
          <p:cNvGrpSpPr/>
          <p:nvPr userDrawn="1"/>
        </p:nvGrpSpPr>
        <p:grpSpPr>
          <a:xfrm>
            <a:off x="-1" y="-7355"/>
            <a:ext cx="12316460" cy="6865355"/>
            <a:chOff x="-1" y="-5516"/>
            <a:chExt cx="9237345" cy="5149016"/>
          </a:xfrm>
        </p:grpSpPr>
        <p:pic>
          <p:nvPicPr>
            <p:cNvPr id="4" name="Image 2">
              <a:extLst>
                <a:ext uri="{FF2B5EF4-FFF2-40B4-BE49-F238E27FC236}">
                  <a16:creationId xmlns:a16="http://schemas.microsoft.com/office/drawing/2014/main" id="{2B6AE7F0-2C31-47B3-972C-43251EC7EC9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2995749" cy="5143500"/>
            </a:xfrm>
            <a:prstGeom prst="rect">
              <a:avLst/>
            </a:prstGeom>
          </p:spPr>
        </p:pic>
        <p:pic>
          <p:nvPicPr>
            <p:cNvPr id="8" name="Image 2">
              <a:extLst>
                <a:ext uri="{FF2B5EF4-FFF2-40B4-BE49-F238E27FC236}">
                  <a16:creationId xmlns:a16="http://schemas.microsoft.com/office/drawing/2014/main" id="{992F941B-8EF0-4132-892E-E19D3935570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462948" y="-5516"/>
              <a:ext cx="2995749" cy="3257986"/>
            </a:xfrm>
            <a:prstGeom prst="rect">
              <a:avLst/>
            </a:prstGeom>
          </p:spPr>
        </p:pic>
        <p:pic>
          <p:nvPicPr>
            <p:cNvPr id="9" name="Image 2">
              <a:extLst>
                <a:ext uri="{FF2B5EF4-FFF2-40B4-BE49-F238E27FC236}">
                  <a16:creationId xmlns:a16="http://schemas.microsoft.com/office/drawing/2014/main" id="{666429A8-AFD1-4B1C-980A-354ED5401104}"/>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45876"/>
            <a:stretch/>
          </p:blipFill>
          <p:spPr>
            <a:xfrm>
              <a:off x="926373" y="2362636"/>
              <a:ext cx="2995749" cy="2780864"/>
            </a:xfrm>
            <a:prstGeom prst="rect">
              <a:avLst/>
            </a:prstGeom>
          </p:spPr>
        </p:pic>
        <p:pic>
          <p:nvPicPr>
            <p:cNvPr id="10" name="Image 2">
              <a:extLst>
                <a:ext uri="{FF2B5EF4-FFF2-40B4-BE49-F238E27FC236}">
                  <a16:creationId xmlns:a16="http://schemas.microsoft.com/office/drawing/2014/main" id="{868EC708-A7D0-4B63-938C-42A84C14BF2C}"/>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9178"/>
            <a:stretch/>
          </p:blipFill>
          <p:spPr>
            <a:xfrm>
              <a:off x="2389322" y="477122"/>
              <a:ext cx="2995749" cy="4666378"/>
            </a:xfrm>
            <a:prstGeom prst="rect">
              <a:avLst/>
            </a:prstGeom>
          </p:spPr>
        </p:pic>
        <p:pic>
          <p:nvPicPr>
            <p:cNvPr id="11" name="Image 2">
              <a:extLst>
                <a:ext uri="{FF2B5EF4-FFF2-40B4-BE49-F238E27FC236}">
                  <a16:creationId xmlns:a16="http://schemas.microsoft.com/office/drawing/2014/main" id="{9DE8ECEC-43FA-40A8-9702-535B2693DFFE}"/>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27717" b="-1"/>
            <a:stretch/>
          </p:blipFill>
          <p:spPr>
            <a:xfrm>
              <a:off x="3852271" y="0"/>
              <a:ext cx="2995749" cy="3730823"/>
            </a:xfrm>
            <a:prstGeom prst="rect">
              <a:avLst/>
            </a:prstGeom>
          </p:spPr>
        </p:pic>
        <p:pic>
          <p:nvPicPr>
            <p:cNvPr id="12" name="Image 2">
              <a:extLst>
                <a:ext uri="{FF2B5EF4-FFF2-40B4-BE49-F238E27FC236}">
                  <a16:creationId xmlns:a16="http://schemas.microsoft.com/office/drawing/2014/main" id="{3A467DB2-9D20-49AD-B466-E04036D624B5}"/>
                </a:ext>
              </a:extLst>
            </p:cNvPr>
            <p:cNvPicPr>
              <a:picLocks noChangeAspect="1"/>
            </p:cNvPicPr>
            <p:nvPr userDrawn="1"/>
          </p:nvPicPr>
          <p:blipFill rotWithShape="1">
            <a:blip r:embed="rId4">
              <a:extLst>
                <a:ext uri="{28A0092B-C50C-407E-A947-70E740481C1C}">
                  <a14:useLocalDpi xmlns:a14="http://schemas.microsoft.com/office/drawing/2010/main"/>
                </a:ext>
              </a:extLst>
            </a:blip>
            <a:srcRect b="18489"/>
            <a:stretch/>
          </p:blipFill>
          <p:spPr>
            <a:xfrm>
              <a:off x="4778645" y="955476"/>
              <a:ext cx="2995749" cy="4188024"/>
            </a:xfrm>
            <a:prstGeom prst="rect">
              <a:avLst/>
            </a:prstGeom>
          </p:spPr>
        </p:pic>
        <p:pic>
          <p:nvPicPr>
            <p:cNvPr id="13" name="Image 2">
              <a:extLst>
                <a:ext uri="{FF2B5EF4-FFF2-40B4-BE49-F238E27FC236}">
                  <a16:creationId xmlns:a16="http://schemas.microsoft.com/office/drawing/2014/main" id="{31B80BB6-342E-4A68-BA7A-4D168F86DB8C}"/>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18100" b="1"/>
            <a:stretch/>
          </p:blipFill>
          <p:spPr>
            <a:xfrm>
              <a:off x="6241594" y="0"/>
              <a:ext cx="2995749" cy="4207945"/>
            </a:xfrm>
            <a:prstGeom prst="rect">
              <a:avLst/>
            </a:prstGeom>
          </p:spPr>
        </p:pic>
        <p:pic>
          <p:nvPicPr>
            <p:cNvPr id="14" name="Image 2">
              <a:extLst>
                <a:ext uri="{FF2B5EF4-FFF2-40B4-BE49-F238E27FC236}">
                  <a16:creationId xmlns:a16="http://schemas.microsoft.com/office/drawing/2014/main" id="{F26B0E0E-FAE5-4C67-A88B-559B6AD47C4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1" r="30817" b="27717"/>
            <a:stretch/>
          </p:blipFill>
          <p:spPr>
            <a:xfrm>
              <a:off x="7164794" y="1429622"/>
              <a:ext cx="2072550" cy="3713878"/>
            </a:xfrm>
            <a:prstGeom prst="rect">
              <a:avLst/>
            </a:prstGeom>
          </p:spPr>
        </p:pic>
      </p:grpSp>
      <p:sp>
        <p:nvSpPr>
          <p:cNvPr id="15" name="Rectangle 14">
            <a:extLst>
              <a:ext uri="{FF2B5EF4-FFF2-40B4-BE49-F238E27FC236}">
                <a16:creationId xmlns:a16="http://schemas.microsoft.com/office/drawing/2014/main" id="{2B048552-2636-458F-92A0-EF9D472693C8}"/>
              </a:ext>
            </a:extLst>
          </p:cNvPr>
          <p:cNvSpPr/>
          <p:nvPr userDrawn="1"/>
        </p:nvSpPr>
        <p:spPr>
          <a:xfrm>
            <a:off x="1312093" y="247470"/>
            <a:ext cx="9567817" cy="6363063"/>
          </a:xfrm>
          <a:prstGeom prst="rect">
            <a:avLst/>
          </a:prstGeom>
          <a:solidFill>
            <a:srgbClr val="0045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a:latin typeface="Verdana" panose="020B0604030504040204" pitchFamily="34" charset="0"/>
              <a:ea typeface="Verdana" panose="020B0604030504040204" pitchFamily="34" charset="0"/>
            </a:endParaRPr>
          </a:p>
        </p:txBody>
      </p:sp>
      <p:sp>
        <p:nvSpPr>
          <p:cNvPr id="7" name="Text Placeholder 6">
            <a:extLst>
              <a:ext uri="{FF2B5EF4-FFF2-40B4-BE49-F238E27FC236}">
                <a16:creationId xmlns:a16="http://schemas.microsoft.com/office/drawing/2014/main" id="{CE747B02-ABAE-45C5-8314-F712B30FA166}"/>
              </a:ext>
            </a:extLst>
          </p:cNvPr>
          <p:cNvSpPr>
            <a:spLocks noGrp="1"/>
          </p:cNvSpPr>
          <p:nvPr>
            <p:ph type="body" sz="quarter" idx="11"/>
          </p:nvPr>
        </p:nvSpPr>
        <p:spPr>
          <a:xfrm>
            <a:off x="2799293" y="2020359"/>
            <a:ext cx="6593417" cy="2817283"/>
          </a:xfrm>
        </p:spPr>
        <p:txBody>
          <a:bodyPr anchor="ctr"/>
          <a:lstStyle>
            <a:lvl1pPr>
              <a:defRPr lang="fr-FR" sz="3200" b="1" i="0" u="none" strike="noStrike" cap="none" spc="-27" baseline="0" dirty="0" smtClean="0">
                <a:solidFill>
                  <a:schemeClr val="lt1"/>
                </a:solidFill>
                <a:latin typeface="Verdana" panose="020B0604030504040204" pitchFamily="34" charset="0"/>
                <a:ea typeface="Verdana" panose="020B0604030504040204" pitchFamily="34" charset="0"/>
                <a:cs typeface="+mn-cs"/>
                <a:sym typeface="Arial"/>
              </a:defRPr>
            </a:lvl1pPr>
            <a:lvl2pPr>
              <a:defRPr/>
            </a:lvl2pPr>
            <a:lvl3pPr>
              <a:defRPr/>
            </a:lvl3pPr>
            <a:lvl4pPr>
              <a:defRPr/>
            </a:lvl4pPr>
            <a:lvl5pPr>
              <a:defRPr/>
            </a:lvl5pPr>
          </a:lstStyle>
          <a:p>
            <a:pPr marL="0" marR="0" lvl="0" indent="0" algn="ctr" rtl="0" eaLnBrk="1" hangingPunct="1">
              <a:lnSpc>
                <a:spcPct val="100000"/>
              </a:lnSpc>
              <a:spcBef>
                <a:spcPts val="0"/>
              </a:spcBef>
              <a:spcAft>
                <a:spcPts val="0"/>
              </a:spcAft>
              <a:buClr>
                <a:srgbClr val="000000"/>
              </a:buClr>
              <a:buSzPts val="1800"/>
              <a:buFont typeface="Arial"/>
              <a:buNone/>
            </a:pPr>
            <a:r>
              <a:rPr lang="en-US"/>
              <a:t>Click to edit Master text</a:t>
            </a:r>
            <a:endParaRPr lang="fr-FR"/>
          </a:p>
        </p:txBody>
      </p:sp>
    </p:spTree>
    <p:extLst>
      <p:ext uri="{BB962C8B-B14F-4D97-AF65-F5344CB8AC3E}">
        <p14:creationId xmlns:p14="http://schemas.microsoft.com/office/powerpoint/2010/main" val="328998229"/>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Slide Shape dark grey">
    <p:bg>
      <p:bgPr>
        <a:solidFill>
          <a:schemeClr val="accent4"/>
        </a:solidFill>
        <a:effectLst/>
      </p:bgPr>
    </p:bg>
    <p:spTree>
      <p:nvGrpSpPr>
        <p:cNvPr id="1" name=""/>
        <p:cNvGrpSpPr/>
        <p:nvPr/>
      </p:nvGrpSpPr>
      <p:grpSpPr>
        <a:xfrm>
          <a:off x="0" y="0"/>
          <a:ext cx="0" cy="0"/>
          <a:chOff x="0" y="0"/>
          <a:chExt cx="0" cy="0"/>
        </a:xfrm>
      </p:grpSpPr>
      <p:pic>
        <p:nvPicPr>
          <p:cNvPr id="5" name="Image 22">
            <a:extLst>
              <a:ext uri="{FF2B5EF4-FFF2-40B4-BE49-F238E27FC236}">
                <a16:creationId xmlns:a16="http://schemas.microsoft.com/office/drawing/2014/main" id="{41EDE120-EE39-4B90-A204-B552BBE466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1057776" flipH="1" flipV="1">
            <a:off x="-2479498" y="-2137377"/>
            <a:ext cx="12288030" cy="8691617"/>
          </a:xfrm>
          <a:prstGeom prst="rect">
            <a:avLst/>
          </a:prstGeom>
        </p:spPr>
      </p:pic>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1032347" y="1940400"/>
            <a:ext cx="10751666"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solidFill>
                  <a:schemeClr val="bg1"/>
                </a:solidFill>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153128952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16795929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a:t>CLICK TO INSERT TITLE</a:t>
            </a:r>
            <a:endParaRPr lang="de-DE"/>
          </a:p>
        </p:txBody>
      </p:sp>
    </p:spTree>
    <p:extLst>
      <p:ext uri="{BB962C8B-B14F-4D97-AF65-F5344CB8AC3E}">
        <p14:creationId xmlns:p14="http://schemas.microsoft.com/office/powerpoint/2010/main" val="17607921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18196365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11" name="Title Placeholder">
            <a:extLst>
              <a:ext uri="{FF2B5EF4-FFF2-40B4-BE49-F238E27FC236}">
                <a16:creationId xmlns:a16="http://schemas.microsoft.com/office/drawing/2014/main" id="{006B5C2B-B0BF-4136-9EC7-0E7F54D1D264}"/>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en-GB"/>
          </a:p>
        </p:txBody>
      </p:sp>
      <p:sp>
        <p:nvSpPr>
          <p:cNvPr id="5" name="Content Placeholder">
            <a:extLst>
              <a:ext uri="{FF2B5EF4-FFF2-40B4-BE49-F238E27FC236}">
                <a16:creationId xmlns:a16="http://schemas.microsoft.com/office/drawing/2014/main" id="{BCFEC8C0-8322-4141-827E-9859F309C31A}"/>
              </a:ext>
            </a:extLst>
          </p:cNvPr>
          <p:cNvSpPr>
            <a:spLocks noGrp="1"/>
          </p:cNvSpPr>
          <p:nvPr>
            <p:ph idx="1"/>
          </p:nvPr>
        </p:nvSpPr>
        <p:spPr>
          <a:xfrm>
            <a:off x="404813" y="1329743"/>
            <a:ext cx="11379600" cy="51345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9348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0"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latin typeface="+mj-lt"/>
              </a:defRPr>
            </a:lvl1pPr>
          </a:lstStyle>
          <a:p>
            <a:r>
              <a:rPr lang="fr-FR"/>
              <a:t>CLICK TO INSERT TITLE</a:t>
            </a:r>
            <a:endParaRPr lang="de-DE"/>
          </a:p>
        </p:txBody>
      </p:sp>
    </p:spTree>
    <p:extLst>
      <p:ext uri="{BB962C8B-B14F-4D97-AF65-F5344CB8AC3E}">
        <p14:creationId xmlns:p14="http://schemas.microsoft.com/office/powerpoint/2010/main" val="17287898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887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Grey">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0786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682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4"/>
        </a:solidFill>
        <a:effectLst/>
      </p:bgPr>
    </p:bg>
    <p:spTree>
      <p:nvGrpSpPr>
        <p:cNvPr id="1" name=""/>
        <p:cNvGrpSpPr/>
        <p:nvPr/>
      </p:nvGrpSpPr>
      <p:grpSpPr>
        <a:xfrm>
          <a:off x="0" y="0"/>
          <a:ext cx="0" cy="0"/>
          <a:chOff x="0" y="0"/>
          <a:chExt cx="0" cy="0"/>
        </a:xfrm>
      </p:grpSpPr>
      <p:pic>
        <p:nvPicPr>
          <p:cNvPr id="2" name="Shape 03-Vibrant Blue">
            <a:extLst>
              <a:ext uri="{FF2B5EF4-FFF2-40B4-BE49-F238E27FC236}">
                <a16:creationId xmlns:a16="http://schemas.microsoft.com/office/drawing/2014/main" id="{C0C20497-0E60-4AFB-B1B0-6A62790D8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52872" y="-819472"/>
            <a:ext cx="12446002" cy="8799808"/>
          </a:xfrm>
          <a:prstGeom prst="rect">
            <a:avLst/>
          </a:prstGeom>
        </p:spPr>
      </p:pic>
      <p:sp>
        <p:nvSpPr>
          <p:cNvPr id="12" name="Text Placeholder 10">
            <a:extLst>
              <a:ext uri="{FF2B5EF4-FFF2-40B4-BE49-F238E27FC236}">
                <a16:creationId xmlns:a16="http://schemas.microsoft.com/office/drawing/2014/main" id="{C7D49BEF-F074-4B8B-9CEF-E6E69476AFCA}"/>
              </a:ext>
            </a:extLst>
          </p:cNvPr>
          <p:cNvSpPr>
            <a:spLocks noGrp="1"/>
          </p:cNvSpPr>
          <p:nvPr>
            <p:ph type="body" sz="quarter" idx="10" hasCustomPrompt="1"/>
          </p:nvPr>
        </p:nvSpPr>
        <p:spPr>
          <a:xfrm>
            <a:off x="4872038" y="2173982"/>
            <a:ext cx="6926262" cy="1975098"/>
          </a:xfrm>
        </p:spPr>
        <p:txBody>
          <a:bodyPr anchor="ctr"/>
          <a:lstStyle>
            <a:lvl1pPr>
              <a:defRPr sz="4400" cap="all" baseline="0">
                <a:solidFill>
                  <a:schemeClr val="accent2"/>
                </a:solidFill>
                <a:latin typeface="+mj-lt"/>
              </a:defRPr>
            </a:lvl1pPr>
            <a:lvl2pPr marL="0" indent="0">
              <a:buNone/>
              <a:defRPr/>
            </a:lvl2pPr>
          </a:lstStyle>
          <a:p>
            <a:pPr lvl="0"/>
            <a:r>
              <a:rPr lang="en-US"/>
              <a:t>Click to insert title</a:t>
            </a:r>
          </a:p>
        </p:txBody>
      </p:sp>
    </p:spTree>
    <p:extLst>
      <p:ext uri="{BB962C8B-B14F-4D97-AF65-F5344CB8AC3E}">
        <p14:creationId xmlns:p14="http://schemas.microsoft.com/office/powerpoint/2010/main" val="3346436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isposition personnalisée">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rgbClr val="003A70"/>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Tree>
    <p:extLst>
      <p:ext uri="{BB962C8B-B14F-4D97-AF65-F5344CB8AC3E}">
        <p14:creationId xmlns:p14="http://schemas.microsoft.com/office/powerpoint/2010/main" val="15731029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Slogan">
    <p:bg>
      <p:bgPr>
        <a:solidFill>
          <a:schemeClr val="accent4"/>
        </a:solidFill>
        <a:effectLst/>
      </p:bgPr>
    </p:bg>
    <p:spTree>
      <p:nvGrpSpPr>
        <p:cNvPr id="1" name=""/>
        <p:cNvGrpSpPr/>
        <p:nvPr/>
      </p:nvGrpSpPr>
      <p:grpSpPr>
        <a:xfrm>
          <a:off x="0" y="0"/>
          <a:ext cx="0" cy="0"/>
          <a:chOff x="0" y="0"/>
          <a:chExt cx="0" cy="0"/>
        </a:xfrm>
      </p:grpSpPr>
      <p:pic>
        <p:nvPicPr>
          <p:cNvPr id="10" name="Shape 02-Vibrant Blue">
            <a:extLst>
              <a:ext uri="{FF2B5EF4-FFF2-40B4-BE49-F238E27FC236}">
                <a16:creationId xmlns:a16="http://schemas.microsoft.com/office/drawing/2014/main" id="{FA84078D-034B-4C05-B6D9-E389726A8A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80771" y="1190950"/>
            <a:ext cx="8816231" cy="4210732"/>
          </a:xfrm>
          <a:prstGeom prst="rect">
            <a:avLst/>
          </a:prstGeom>
        </p:spPr>
      </p:pic>
      <p:sp>
        <p:nvSpPr>
          <p:cNvPr id="4" name="CG Slogan">
            <a:extLst>
              <a:ext uri="{FF2B5EF4-FFF2-40B4-BE49-F238E27FC236}">
                <a16:creationId xmlns:a16="http://schemas.microsoft.com/office/drawing/2014/main" id="{A26B1368-FED3-4D17-AC35-EFD8F59C2BCF}"/>
              </a:ext>
            </a:extLst>
          </p:cNvPr>
          <p:cNvSpPr txBox="1"/>
          <p:nvPr userDrawn="1"/>
        </p:nvSpPr>
        <p:spPr>
          <a:xfrm>
            <a:off x="2844308" y="2281210"/>
            <a:ext cx="6503383" cy="2585323"/>
          </a:xfrm>
          <a:prstGeom prst="rect">
            <a:avLst/>
          </a:prstGeom>
        </p:spPr>
        <p:txBody>
          <a:bodyPr vert="horz" lIns="0" tIns="0" rIns="0" bIns="0" rtlCol="0" anchor="ctr" anchorCtr="0">
            <a:spAutoFit/>
          </a:bodyPr>
          <a:lstStyle>
            <a:lvl1pPr indent="0">
              <a:lnSpc>
                <a:spcPct val="70000"/>
              </a:lnSpc>
              <a:spcBef>
                <a:spcPts val="0"/>
              </a:spcBef>
              <a:spcAft>
                <a:spcPts val="600"/>
              </a:spcAft>
              <a:buFontTx/>
              <a:buNone/>
              <a:defRPr sz="8000" b="1" cap="all" baseline="0">
                <a:solidFill>
                  <a:schemeClr val="bg1"/>
                </a:solidFill>
                <a:latin typeface="Ubuntu" panose="020B0504030602030204" pitchFamily="34" charset="0"/>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solidFill>
                  <a:schemeClr val="bg1"/>
                </a:solidFill>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solidFill>
                  <a:schemeClr val="bg1"/>
                </a:solidFill>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a:t>GET THE</a:t>
            </a:r>
            <a:br>
              <a:rPr lang="en-GB"/>
            </a:br>
            <a:r>
              <a:rPr lang="en-GB"/>
              <a:t>		FUTURE</a:t>
            </a:r>
            <a:br>
              <a:rPr lang="en-GB"/>
            </a:br>
            <a:r>
              <a:rPr lang="en-GB"/>
              <a:t>	YOU WANT</a:t>
            </a:r>
            <a:endParaRPr lang="de-DE"/>
          </a:p>
        </p:txBody>
      </p:sp>
      <p:sp>
        <p:nvSpPr>
          <p:cNvPr id="9" name="CG URL">
            <a:extLst>
              <a:ext uri="{FF2B5EF4-FFF2-40B4-BE49-F238E27FC236}">
                <a16:creationId xmlns:a16="http://schemas.microsoft.com/office/drawing/2014/main" id="{2DA56974-C99B-4E6D-A6DE-E2EDC03B8E05}"/>
              </a:ext>
            </a:extLst>
          </p:cNvPr>
          <p:cNvSpPr>
            <a:spLocks noGrp="1"/>
          </p:cNvSpPr>
          <p:nvPr>
            <p:ph type="subTitle" idx="1" hasCustomPrompt="1"/>
          </p:nvPr>
        </p:nvSpPr>
        <p:spPr>
          <a:xfrm>
            <a:off x="393700" y="6003700"/>
            <a:ext cx="11404600" cy="453183"/>
          </a:xfrm>
        </p:spPr>
        <p:txBody>
          <a:bodyPr vert="horz" lIns="36000" tIns="144000" rIns="0" bIns="0" rtlCol="0">
            <a:noAutofit/>
          </a:bodyPr>
          <a:lstStyle>
            <a:lvl1pPr>
              <a:defRPr lang="en-GB" sz="2000" dirty="0">
                <a:solidFill>
                  <a:schemeClr val="bg1"/>
                </a:solidFill>
                <a:latin typeface="Ubuntu" panose="020B0504030602030204" pitchFamily="34" charset="0"/>
              </a:defRPr>
            </a:lvl1pPr>
          </a:lstStyle>
          <a:p>
            <a:pPr lvl="0"/>
            <a:r>
              <a:rPr lang="en-GB"/>
              <a:t>capgemini.com</a:t>
            </a:r>
          </a:p>
        </p:txBody>
      </p:sp>
      <p:pic>
        <p:nvPicPr>
          <p:cNvPr id="6" name="Graphic 5">
            <a:extLst>
              <a:ext uri="{FF2B5EF4-FFF2-40B4-BE49-F238E27FC236}">
                <a16:creationId xmlns:a16="http://schemas.microsoft.com/office/drawing/2014/main" id="{18345591-6E36-47F6-BF90-95456C035D1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75" y="260670"/>
            <a:ext cx="3016065" cy="1226133"/>
          </a:xfrm>
          <a:prstGeom prst="rect">
            <a:avLst/>
          </a:prstGeom>
        </p:spPr>
      </p:pic>
    </p:spTree>
    <p:extLst>
      <p:ext uri="{BB962C8B-B14F-4D97-AF65-F5344CB8AC3E}">
        <p14:creationId xmlns:p14="http://schemas.microsoft.com/office/powerpoint/2010/main" val="282183408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losing 1 Gray">
    <p:bg>
      <p:bgPr>
        <a:solidFill>
          <a:srgbClr val="272936"/>
        </a:solidFill>
        <a:effectLst/>
      </p:bgPr>
    </p:bg>
    <p:spTree>
      <p:nvGrpSpPr>
        <p:cNvPr id="1" name=""/>
        <p:cNvGrpSpPr/>
        <p:nvPr/>
      </p:nvGrpSpPr>
      <p:grpSpPr>
        <a:xfrm>
          <a:off x="0" y="0"/>
          <a:ext cx="0" cy="0"/>
          <a:chOff x="0" y="0"/>
          <a:chExt cx="0" cy="0"/>
        </a:xfrm>
      </p:grpSpPr>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1 Capgemini. All rights reserved.</a:t>
            </a:r>
          </a:p>
        </p:txBody>
      </p:sp>
      <p:pic>
        <p:nvPicPr>
          <p:cNvPr id="28" name="Shape 01-Vibrant Blue">
            <a:extLst>
              <a:ext uri="{FF2B5EF4-FFF2-40B4-BE49-F238E27FC236}">
                <a16:creationId xmlns:a16="http://schemas.microsoft.com/office/drawing/2014/main" id="{CFD4BD67-7A96-4F02-AD8B-7157189FD6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grpSp>
        <p:nvGrpSpPr>
          <p:cNvPr id="4" name="Boilerplate">
            <a:extLst>
              <a:ext uri="{FF2B5EF4-FFF2-40B4-BE49-F238E27FC236}">
                <a16:creationId xmlns:a16="http://schemas.microsoft.com/office/drawing/2014/main" id="{355DAE28-89DC-4F72-853C-8C1E599ABDB9}"/>
              </a:ext>
            </a:extLst>
          </p:cNvPr>
          <p:cNvGrpSpPr/>
          <p:nvPr userDrawn="1"/>
        </p:nvGrpSpPr>
        <p:grpSpPr>
          <a:xfrm>
            <a:off x="6536184" y="2939130"/>
            <a:ext cx="4638214" cy="1872894"/>
            <a:chOff x="6536184" y="2939130"/>
            <a:chExt cx="4638214" cy="1872894"/>
          </a:xfrm>
        </p:grpSpPr>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mn-lt"/>
                </a:rPr>
                <a:t>About Capgemini</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mn-lt"/>
              </a:rPr>
              <a:t>Get The Future You Want </a:t>
            </a:r>
            <a:r>
              <a:rPr lang="en-US" sz="900">
                <a:solidFill>
                  <a:schemeClr val="bg1"/>
                </a:solidFill>
                <a:effectLst/>
                <a:latin typeface="+mn-lt"/>
              </a:rPr>
              <a:t>|</a:t>
            </a:r>
            <a:r>
              <a:rPr lang="en-GB" sz="900">
                <a:solidFill>
                  <a:schemeClr val="bg1"/>
                </a:solidFill>
                <a:effectLst/>
                <a:latin typeface="+mn-lt"/>
              </a:rPr>
              <a:t> </a:t>
            </a:r>
            <a:r>
              <a:rPr lang="en-US" sz="1050">
                <a:solidFill>
                  <a:schemeClr val="accent2"/>
                </a:solidFill>
                <a:latin typeface="+mn-lt"/>
              </a:rPr>
              <a:t>www.capgemini.com</a:t>
            </a:r>
          </a:p>
        </p:txBody>
      </p:sp>
      <p:grpSp>
        <p:nvGrpSpPr>
          <p:cNvPr id="22" name="Social Media Links">
            <a:extLst>
              <a:ext uri="{FF2B5EF4-FFF2-40B4-BE49-F238E27FC236}">
                <a16:creationId xmlns:a16="http://schemas.microsoft.com/office/drawing/2014/main" id="{72A899AB-FA13-4080-A6D1-C1D99ABC28EA}"/>
              </a:ext>
            </a:extLst>
          </p:cNvPr>
          <p:cNvGrpSpPr/>
          <p:nvPr userDrawn="1"/>
        </p:nvGrpSpPr>
        <p:grpSpPr>
          <a:xfrm>
            <a:off x="426720" y="4968013"/>
            <a:ext cx="1866702" cy="333195"/>
            <a:chOff x="426720" y="4968013"/>
            <a:chExt cx="1866702" cy="333195"/>
          </a:xfrm>
        </p:grpSpPr>
        <p:pic>
          <p:nvPicPr>
            <p:cNvPr id="24" name="LinkedIn Icon">
              <a:hlinkClick r:id="rId3"/>
              <a:extLst>
                <a:ext uri="{FF2B5EF4-FFF2-40B4-BE49-F238E27FC236}">
                  <a16:creationId xmlns:a16="http://schemas.microsoft.com/office/drawing/2014/main" id="{34DF7EBF-19B8-4438-A8E1-01F06007195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25" name="Slideshare Icon">
              <a:hlinkClick r:id="rId5"/>
              <a:extLst>
                <a:ext uri="{FF2B5EF4-FFF2-40B4-BE49-F238E27FC236}">
                  <a16:creationId xmlns:a16="http://schemas.microsoft.com/office/drawing/2014/main" id="{9A97FC51-233B-49B0-A0F4-DA413387BE5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26" name="Twitter Icon">
              <a:hlinkClick r:id="rId7"/>
              <a:extLst>
                <a:ext uri="{FF2B5EF4-FFF2-40B4-BE49-F238E27FC236}">
                  <a16:creationId xmlns:a16="http://schemas.microsoft.com/office/drawing/2014/main" id="{5255C755-B4EB-41C0-8E76-C6A7E09C347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7" name="Youtube Icon">
              <a:hlinkClick r:id="rId9"/>
              <a:extLst>
                <a:ext uri="{FF2B5EF4-FFF2-40B4-BE49-F238E27FC236}">
                  <a16:creationId xmlns:a16="http://schemas.microsoft.com/office/drawing/2014/main" id="{7EF20F7D-BFD3-4403-8168-47A297EAD74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9" name="Facebook Icon">
              <a:hlinkClick r:id="rId11"/>
              <a:extLst>
                <a:ext uri="{FF2B5EF4-FFF2-40B4-BE49-F238E27FC236}">
                  <a16:creationId xmlns:a16="http://schemas.microsoft.com/office/drawing/2014/main" id="{FDDCBD14-9657-4918-96BB-79A9677BC36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grpSp>
      <p:pic>
        <p:nvPicPr>
          <p:cNvPr id="17" name="Graphic 16">
            <a:extLst>
              <a:ext uri="{FF2B5EF4-FFF2-40B4-BE49-F238E27FC236}">
                <a16:creationId xmlns:a16="http://schemas.microsoft.com/office/drawing/2014/main" id="{1491A1C0-A202-4751-8155-1696179A320F}"/>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2415360290"/>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losing 1 White">
    <p:bg>
      <p:bgPr>
        <a:solidFill>
          <a:schemeClr val="bg1"/>
        </a:solidFill>
        <a:effectLst/>
      </p:bgPr>
    </p:bg>
    <p:spTree>
      <p:nvGrpSpPr>
        <p:cNvPr id="1" name=""/>
        <p:cNvGrpSpPr/>
        <p:nvPr/>
      </p:nvGrpSpPr>
      <p:grpSpPr>
        <a:xfrm>
          <a:off x="0" y="0"/>
          <a:ext cx="0" cy="0"/>
          <a:chOff x="0" y="0"/>
          <a:chExt cx="0" cy="0"/>
        </a:xfrm>
      </p:grpSpPr>
      <p:pic>
        <p:nvPicPr>
          <p:cNvPr id="19" name="Shape 01-Vibrant Blue">
            <a:extLst>
              <a:ext uri="{FF2B5EF4-FFF2-40B4-BE49-F238E27FC236}">
                <a16:creationId xmlns:a16="http://schemas.microsoft.com/office/drawing/2014/main" id="{895D3217-B8B5-4AE8-A450-DB9702D808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accent4"/>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accent4"/>
                </a:solidFill>
                <a:latin typeface="+mn-lt"/>
                <a:cs typeface="Arial"/>
              </a:rPr>
              <a:t>Copyright © 2021 Capgemini. All rights reserved.</a:t>
            </a:r>
          </a:p>
        </p:txBody>
      </p:sp>
      <p:grpSp>
        <p:nvGrpSpPr>
          <p:cNvPr id="7" name="Boilerplate">
            <a:extLst>
              <a:ext uri="{FF2B5EF4-FFF2-40B4-BE49-F238E27FC236}">
                <a16:creationId xmlns:a16="http://schemas.microsoft.com/office/drawing/2014/main" id="{515E8BB5-DAD2-4313-94A5-D8B64B2EB584}"/>
              </a:ext>
            </a:extLst>
          </p:cNvPr>
          <p:cNvGrpSpPr/>
          <p:nvPr userDrawn="1"/>
        </p:nvGrpSpPr>
        <p:grpSpPr>
          <a:xfrm>
            <a:off x="6536184" y="2939130"/>
            <a:ext cx="4638214" cy="1872894"/>
            <a:chOff x="6536184" y="2939130"/>
            <a:chExt cx="4638214" cy="1872894"/>
          </a:xfrm>
        </p:grpSpPr>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4"/>
                  </a:solidFill>
                  <a:latin typeface="+mn-lt"/>
                </a:rPr>
                <a:t>About Capgemini</a:t>
              </a:r>
            </a:p>
          </p:txBody>
        </p:sp>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accent4"/>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accent4"/>
                </a:solidFill>
                <a:effectLst/>
                <a:latin typeface="+mn-lt"/>
              </a:rPr>
              <a:t>Get The Future You Want </a:t>
            </a:r>
            <a:r>
              <a:rPr lang="en-US" sz="900">
                <a:solidFill>
                  <a:schemeClr val="accent4"/>
                </a:solidFill>
                <a:effectLst/>
                <a:latin typeface="+mn-lt"/>
              </a:rPr>
              <a:t>|</a:t>
            </a:r>
            <a:r>
              <a:rPr lang="en-GB" sz="900">
                <a:solidFill>
                  <a:schemeClr val="accent1"/>
                </a:solidFill>
                <a:effectLst/>
                <a:latin typeface="+mn-lt"/>
              </a:rPr>
              <a:t> </a:t>
            </a:r>
            <a:r>
              <a:rPr lang="en-US" sz="1050">
                <a:solidFill>
                  <a:schemeClr val="accent1"/>
                </a:solidFill>
                <a:latin typeface="+mn-lt"/>
              </a:rPr>
              <a:t>www.capgemini.com</a:t>
            </a:r>
          </a:p>
        </p:txBody>
      </p:sp>
      <p:grpSp>
        <p:nvGrpSpPr>
          <p:cNvPr id="34" name="Social Media Links">
            <a:extLst>
              <a:ext uri="{FF2B5EF4-FFF2-40B4-BE49-F238E27FC236}">
                <a16:creationId xmlns:a16="http://schemas.microsoft.com/office/drawing/2014/main" id="{D594469D-1213-4DFE-9247-148076A10567}"/>
              </a:ext>
            </a:extLst>
          </p:cNvPr>
          <p:cNvGrpSpPr/>
          <p:nvPr userDrawn="1"/>
        </p:nvGrpSpPr>
        <p:grpSpPr>
          <a:xfrm>
            <a:off x="421882" y="4968013"/>
            <a:ext cx="1866702" cy="333195"/>
            <a:chOff x="421882" y="4968013"/>
            <a:chExt cx="1866702" cy="333195"/>
          </a:xfrm>
        </p:grpSpPr>
        <p:pic>
          <p:nvPicPr>
            <p:cNvPr id="35" name="LinkedIn Icon">
              <a:hlinkClick r:id="rId3"/>
              <a:extLst>
                <a:ext uri="{FF2B5EF4-FFF2-40B4-BE49-F238E27FC236}">
                  <a16:creationId xmlns:a16="http://schemas.microsoft.com/office/drawing/2014/main" id="{B6EA213A-F7B6-40A4-A381-49B576D35DC7}"/>
                </a:ext>
              </a:extLst>
            </p:cNvPr>
            <p:cNvPicPr>
              <a:picLocks noChangeAspect="1" noChangeArrowheads="1"/>
            </p:cNvPicPr>
            <p:nvPr userDrawn="1"/>
          </p:nvPicPr>
          <p:blipFill>
            <a:blip r:embed="rId4"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805259" y="4968013"/>
              <a:ext cx="333195" cy="333195"/>
            </a:xfrm>
            <a:prstGeom prst="rect">
              <a:avLst/>
            </a:prstGeom>
            <a:noFill/>
          </p:spPr>
        </p:pic>
        <p:pic>
          <p:nvPicPr>
            <p:cNvPr id="36" name="Slideshare Icon">
              <a:hlinkClick r:id="rId6"/>
              <a:extLst>
                <a:ext uri="{FF2B5EF4-FFF2-40B4-BE49-F238E27FC236}">
                  <a16:creationId xmlns:a16="http://schemas.microsoft.com/office/drawing/2014/main" id="{7B7404F3-848D-45AB-99EC-4903ABFAFF50}"/>
                </a:ext>
              </a:extLst>
            </p:cNvPr>
            <p:cNvPicPr>
              <a:picLocks noChangeAspect="1" noChangeArrowheads="1"/>
            </p:cNvPicPr>
            <p:nvPr userDrawn="1"/>
          </p:nvPicPr>
          <p:blipFill>
            <a:blip r:embed="rId7"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88636" y="4968013"/>
              <a:ext cx="333195" cy="333195"/>
            </a:xfrm>
            <a:prstGeom prst="rect">
              <a:avLst/>
            </a:prstGeom>
            <a:noFill/>
          </p:spPr>
        </p:pic>
        <p:pic>
          <p:nvPicPr>
            <p:cNvPr id="37" name="Twitter Icon">
              <a:hlinkClick r:id="rId9"/>
              <a:extLst>
                <a:ext uri="{FF2B5EF4-FFF2-40B4-BE49-F238E27FC236}">
                  <a16:creationId xmlns:a16="http://schemas.microsoft.com/office/drawing/2014/main" id="{4FA6F1ED-EFA9-4928-ACD5-C4835A9AC820}"/>
                </a:ext>
              </a:extLst>
            </p:cNvPr>
            <p:cNvPicPr>
              <a:picLocks noChangeAspect="1" noChangeArrowheads="1"/>
            </p:cNvPicPr>
            <p:nvPr userDrawn="1"/>
          </p:nvPicPr>
          <p:blipFill>
            <a:blip r:embed="rId10"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572013" y="4968013"/>
              <a:ext cx="333195" cy="333195"/>
            </a:xfrm>
            <a:prstGeom prst="rect">
              <a:avLst/>
            </a:prstGeom>
            <a:noFill/>
          </p:spPr>
        </p:pic>
        <p:pic>
          <p:nvPicPr>
            <p:cNvPr id="38" name="Youtube Icon">
              <a:hlinkClick r:id="rId12"/>
              <a:extLst>
                <a:ext uri="{FF2B5EF4-FFF2-40B4-BE49-F238E27FC236}">
                  <a16:creationId xmlns:a16="http://schemas.microsoft.com/office/drawing/2014/main" id="{DCE7FC7D-B8AC-47F9-8211-5DC6FD4572BE}"/>
                </a:ext>
              </a:extLst>
            </p:cNvPr>
            <p:cNvPicPr>
              <a:picLocks noChangeAspect="1" noChangeArrowheads="1"/>
            </p:cNvPicPr>
            <p:nvPr userDrawn="1"/>
          </p:nvPicPr>
          <p:blipFill>
            <a:blip r:embed="rId13"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955389" y="4968013"/>
              <a:ext cx="333195" cy="333195"/>
            </a:xfrm>
            <a:prstGeom prst="rect">
              <a:avLst/>
            </a:prstGeom>
            <a:noFill/>
          </p:spPr>
        </p:pic>
        <p:pic>
          <p:nvPicPr>
            <p:cNvPr id="39" name="Facebook Icon">
              <a:hlinkClick r:id="rId15"/>
              <a:extLst>
                <a:ext uri="{FF2B5EF4-FFF2-40B4-BE49-F238E27FC236}">
                  <a16:creationId xmlns:a16="http://schemas.microsoft.com/office/drawing/2014/main" id="{BB8A65C1-EEAB-4E60-8E1F-36E637448DBE}"/>
                </a:ext>
              </a:extLst>
            </p:cNvPr>
            <p:cNvPicPr>
              <a:picLocks noChangeAspect="1" noChangeArrowheads="1"/>
            </p:cNvPicPr>
            <p:nvPr userDrawn="1"/>
          </p:nvPicPr>
          <p:blipFill>
            <a:blip r:embed="rId16"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21882" y="4968013"/>
              <a:ext cx="333195" cy="333195"/>
            </a:xfrm>
            <a:prstGeom prst="rect">
              <a:avLst/>
            </a:prstGeom>
            <a:noFill/>
          </p:spPr>
        </p:pic>
      </p:grpSp>
      <p:pic>
        <p:nvPicPr>
          <p:cNvPr id="17" name="Graphic 16">
            <a:extLst>
              <a:ext uri="{FF2B5EF4-FFF2-40B4-BE49-F238E27FC236}">
                <a16:creationId xmlns:a16="http://schemas.microsoft.com/office/drawing/2014/main" id="{53C360EE-2F8C-4F56-B24B-0504D5FC6DFE}"/>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82700917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004575"/>
        </a:solidFill>
        <a:effectLst/>
      </p:bgPr>
    </p:bg>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en-US"/>
              <a:t>Click to edit Master title style</a:t>
            </a:r>
            <a:endParaRPr/>
          </a:p>
        </p:txBody>
      </p:sp>
      <p:sp>
        <p:nvSpPr>
          <p:cNvPr id="3" name="Rectangle: Rounded Corners 2">
            <a:extLst>
              <a:ext uri="{FF2B5EF4-FFF2-40B4-BE49-F238E27FC236}">
                <a16:creationId xmlns:a16="http://schemas.microsoft.com/office/drawing/2014/main" id="{F30BC86F-1286-4D9B-88B0-219D6435AB4E}"/>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4" name="Rectangle: Rounded Corners 3">
            <a:extLst>
              <a:ext uri="{FF2B5EF4-FFF2-40B4-BE49-F238E27FC236}">
                <a16:creationId xmlns:a16="http://schemas.microsoft.com/office/drawing/2014/main" id="{5A864A48-6552-422F-8A4E-A11D4F923B96}"/>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5" name="Rectangle: Rounded Corners 4">
            <a:extLst>
              <a:ext uri="{FF2B5EF4-FFF2-40B4-BE49-F238E27FC236}">
                <a16:creationId xmlns:a16="http://schemas.microsoft.com/office/drawing/2014/main" id="{2018FCD2-D9AE-4FD7-9FD1-B7B1CAD6165D}"/>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7" name="Rectangle: Rounded Corners 6">
            <a:extLst>
              <a:ext uri="{FF2B5EF4-FFF2-40B4-BE49-F238E27FC236}">
                <a16:creationId xmlns:a16="http://schemas.microsoft.com/office/drawing/2014/main" id="{1BFA43B5-9AE8-47F3-8CB5-D95838E1A8D6}"/>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8" name="Rectangle: Rounded Corners 7">
            <a:extLst>
              <a:ext uri="{FF2B5EF4-FFF2-40B4-BE49-F238E27FC236}">
                <a16:creationId xmlns:a16="http://schemas.microsoft.com/office/drawing/2014/main" id="{B35BEADB-EAAA-4D48-BA4D-DC3BA4CC75CE}"/>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9" name="Rectangle: Rounded Corners 8">
            <a:extLst>
              <a:ext uri="{FF2B5EF4-FFF2-40B4-BE49-F238E27FC236}">
                <a16:creationId xmlns:a16="http://schemas.microsoft.com/office/drawing/2014/main" id="{EA5FFA63-DAE7-4511-88B2-D484EB698384}"/>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0" name="Rectangle: Rounded Corners 9">
            <a:extLst>
              <a:ext uri="{FF2B5EF4-FFF2-40B4-BE49-F238E27FC236}">
                <a16:creationId xmlns:a16="http://schemas.microsoft.com/office/drawing/2014/main" id="{6753BE3C-2CFF-404E-A346-858068C5B0C2}"/>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37822071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004575"/>
        </a:solidFill>
        <a:effectLst/>
      </p:bgPr>
    </p:bg>
    <p:spTree>
      <p:nvGrpSpPr>
        <p:cNvPr id="1" name=""/>
        <p:cNvGrpSpPr/>
        <p:nvPr/>
      </p:nvGrpSpPr>
      <p:grpSpPr>
        <a:xfrm>
          <a:off x="0" y="0"/>
          <a:ext cx="0" cy="0"/>
          <a:chOff x="0" y="0"/>
          <a:chExt cx="0" cy="0"/>
        </a:xfrm>
      </p:grpSpPr>
      <p:sp>
        <p:nvSpPr>
          <p:cNvPr id="6" name="Google Shape;10;p1">
            <a:extLst>
              <a:ext uri="{FF2B5EF4-FFF2-40B4-BE49-F238E27FC236}">
                <a16:creationId xmlns:a16="http://schemas.microsoft.com/office/drawing/2014/main" id="{B6C01700-11D6-47E3-BBBC-93B817878FA4}"/>
              </a:ext>
            </a:extLst>
          </p:cNvPr>
          <p:cNvSpPr txBox="1">
            <a:spLocks noGrp="1"/>
          </p:cNvSpPr>
          <p:nvPr>
            <p:ph type="title" hasCustomPrompt="1"/>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r>
              <a:rPr lang="fr-FR"/>
              <a:t>Agenda</a:t>
            </a:r>
            <a:endParaRPr/>
          </a:p>
        </p:txBody>
      </p:sp>
      <p:sp>
        <p:nvSpPr>
          <p:cNvPr id="3" name="Text Placeholder 2">
            <a:extLst>
              <a:ext uri="{FF2B5EF4-FFF2-40B4-BE49-F238E27FC236}">
                <a16:creationId xmlns:a16="http://schemas.microsoft.com/office/drawing/2014/main" id="{D82BDFDE-510A-45D1-A511-E8ED459EAB1F}"/>
              </a:ext>
            </a:extLst>
          </p:cNvPr>
          <p:cNvSpPr>
            <a:spLocks noGrp="1"/>
          </p:cNvSpPr>
          <p:nvPr>
            <p:ph type="body" sz="quarter" idx="10"/>
          </p:nvPr>
        </p:nvSpPr>
        <p:spPr>
          <a:xfrm>
            <a:off x="4134067" y="1979084"/>
            <a:ext cx="7448333" cy="3407833"/>
          </a:xfrm>
          <a:prstGeom prst="rect">
            <a:avLst/>
          </a:prstGeom>
        </p:spPr>
        <p:txBody>
          <a:bodyPr anchor="ctr"/>
          <a:lstStyle>
            <a:lvl1pPr marL="702716" indent="-533387">
              <a:spcBef>
                <a:spcPts val="1600"/>
              </a:spcBef>
              <a:buClr>
                <a:srgbClr val="FF004D"/>
              </a:buClr>
              <a:buSzPct val="150000"/>
              <a:buFont typeface="+mj-lt"/>
              <a:buAutoNum type="romanUcPeriod"/>
              <a:defRPr sz="2133">
                <a:solidFill>
                  <a:schemeClr val="tx1"/>
                </a:solidFill>
              </a:defRPr>
            </a:lvl1pPr>
            <a:lvl2pPr marL="1312301" indent="-533387">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indent="-533387">
              <a:buFont typeface="+mj-lt"/>
              <a:buAutoNum type="romanUcPeriod"/>
              <a:defRPr/>
            </a:lvl3pPr>
            <a:lvl4pPr marL="2531470" indent="-533387">
              <a:buFont typeface="+mj-lt"/>
              <a:buAutoNum type="romanUcPeriod"/>
              <a:defRPr/>
            </a:lvl4pPr>
            <a:lvl5pPr marL="3141055" indent="-533387">
              <a:buFont typeface="+mj-lt"/>
              <a:buAutoNum type="romanUcPeriod"/>
              <a:defRPr/>
            </a:lvl5pPr>
          </a:lstStyle>
          <a:p>
            <a:pPr lvl="0"/>
            <a:r>
              <a:rPr lang="en-US"/>
              <a:t>Click to edit Master text styles</a:t>
            </a:r>
          </a:p>
          <a:p>
            <a:pPr lvl="1"/>
            <a:r>
              <a:rPr lang="en-US"/>
              <a:t>Second level</a:t>
            </a:r>
          </a:p>
        </p:txBody>
      </p:sp>
      <p:pic>
        <p:nvPicPr>
          <p:cNvPr id="8" name="Picture 7" descr="A picture containing logo&#10;&#10;Description automatically generated">
            <a:extLst>
              <a:ext uri="{FF2B5EF4-FFF2-40B4-BE49-F238E27FC236}">
                <a16:creationId xmlns:a16="http://schemas.microsoft.com/office/drawing/2014/main" id="{CB2B10C1-C1EC-482B-B898-E164E8D5594D}"/>
              </a:ext>
            </a:extLst>
          </p:cNvPr>
          <p:cNvPicPr>
            <a:picLocks noChangeAspect="1"/>
          </p:cNvPicPr>
          <p:nvPr userDrawn="1"/>
        </p:nvPicPr>
        <p:blipFill rotWithShape="1">
          <a:blip r:embed="rId2"/>
          <a:srcRect r="49524" b="53704"/>
          <a:stretch/>
        </p:blipFill>
        <p:spPr>
          <a:xfrm>
            <a:off x="581301" y="2598712"/>
            <a:ext cx="3552767" cy="2168573"/>
          </a:xfrm>
          <a:prstGeom prst="rect">
            <a:avLst/>
          </a:prstGeom>
        </p:spPr>
      </p:pic>
      <p:sp>
        <p:nvSpPr>
          <p:cNvPr id="5" name="Rectangle: Rounded Corners 4">
            <a:extLst>
              <a:ext uri="{FF2B5EF4-FFF2-40B4-BE49-F238E27FC236}">
                <a16:creationId xmlns:a16="http://schemas.microsoft.com/office/drawing/2014/main" id="{75D9DA4C-98BC-4377-B7C3-38D4D1E00428}"/>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7" name="Rectangle: Rounded Corners 6">
            <a:extLst>
              <a:ext uri="{FF2B5EF4-FFF2-40B4-BE49-F238E27FC236}">
                <a16:creationId xmlns:a16="http://schemas.microsoft.com/office/drawing/2014/main" id="{7C1CE4DC-44FF-4592-B035-6BF8D3777259}"/>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9" name="Rectangle: Rounded Corners 8">
            <a:extLst>
              <a:ext uri="{FF2B5EF4-FFF2-40B4-BE49-F238E27FC236}">
                <a16:creationId xmlns:a16="http://schemas.microsoft.com/office/drawing/2014/main" id="{7CE2ABAB-12B1-4E9D-905D-F9DBFAF3AF16}"/>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0" name="Rectangle: Rounded Corners 9">
            <a:extLst>
              <a:ext uri="{FF2B5EF4-FFF2-40B4-BE49-F238E27FC236}">
                <a16:creationId xmlns:a16="http://schemas.microsoft.com/office/drawing/2014/main" id="{43AD50BD-4CCB-4C52-B0C2-84A14D9E8A58}"/>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1" name="Rectangle: Rounded Corners 10">
            <a:extLst>
              <a:ext uri="{FF2B5EF4-FFF2-40B4-BE49-F238E27FC236}">
                <a16:creationId xmlns:a16="http://schemas.microsoft.com/office/drawing/2014/main" id="{61A7A1EE-0C77-4574-8A13-5B2E04532574}"/>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2" name="Rectangle: Rounded Corners 11">
            <a:extLst>
              <a:ext uri="{FF2B5EF4-FFF2-40B4-BE49-F238E27FC236}">
                <a16:creationId xmlns:a16="http://schemas.microsoft.com/office/drawing/2014/main" id="{41A72DB7-8789-4084-9F59-66773E56D326}"/>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3" name="Rectangle: Rounded Corners 12">
            <a:extLst>
              <a:ext uri="{FF2B5EF4-FFF2-40B4-BE49-F238E27FC236}">
                <a16:creationId xmlns:a16="http://schemas.microsoft.com/office/drawing/2014/main" id="{BA9DD512-0644-461B-AE18-A114D92E055E}"/>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1905124418"/>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4.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oleObject" Target="../embeddings/oleObject2.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ags" Target="../tags/tag1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theme" Target="../theme/theme3.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image" Target="../media/image4.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4.emf"/><Relationship Id="rId3" Type="http://schemas.openxmlformats.org/officeDocument/2006/relationships/slideLayout" Target="../slideLayouts/slideLayout61.xml"/><Relationship Id="rId21" Type="http://schemas.openxmlformats.org/officeDocument/2006/relationships/image" Target="../media/image25.png"/><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oleObject" Target="../embeddings/oleObject7.bin"/><Relationship Id="rId2" Type="http://schemas.openxmlformats.org/officeDocument/2006/relationships/slideLayout" Target="../slideLayouts/slideLayout60.xml"/><Relationship Id="rId16" Type="http://schemas.openxmlformats.org/officeDocument/2006/relationships/tags" Target="../tags/tag18.xml"/><Relationship Id="rId20" Type="http://schemas.openxmlformats.org/officeDocument/2006/relationships/image" Target="../media/image24.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4.xml"/><Relationship Id="rId10" Type="http://schemas.openxmlformats.org/officeDocument/2006/relationships/slideLayout" Target="../slideLayouts/slideLayout68.xml"/><Relationship Id="rId19" Type="http://schemas.openxmlformats.org/officeDocument/2006/relationships/image" Target="../media/image23.pn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6" name="Text Placeholder 5">
            <a:extLst>
              <a:ext uri="{FF2B5EF4-FFF2-40B4-BE49-F238E27FC236}">
                <a16:creationId xmlns:a16="http://schemas.microsoft.com/office/drawing/2014/main" id="{D7131121-5ADC-4815-81C0-A6D02004D4B4}"/>
              </a:ext>
            </a:extLst>
          </p:cNvPr>
          <p:cNvSpPr>
            <a:spLocks noGrp="1"/>
          </p:cNvSpPr>
          <p:nvPr>
            <p:ph type="body" idx="1"/>
          </p:nvPr>
        </p:nvSpPr>
        <p:spPr>
          <a:xfrm>
            <a:off x="609600" y="1347761"/>
            <a:ext cx="10972800" cy="446749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0" name="Google Shape;10;p1"/>
          <p:cNvSpPr txBox="1">
            <a:spLocks noGrp="1"/>
          </p:cNvSpPr>
          <p:nvPr>
            <p:ph type="title"/>
          </p:nvPr>
        </p:nvSpPr>
        <p:spPr>
          <a:xfrm>
            <a:off x="640080" y="91440"/>
            <a:ext cx="10972800" cy="865739"/>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3A70"/>
              </a:buClr>
              <a:buSzPts val="2000"/>
              <a:buFont typeface="Arial"/>
              <a:buNone/>
              <a:defRPr sz="2000" b="0" i="0" u="none" strike="noStrike" cap="none">
                <a:solidFill>
                  <a:srgbClr val="003A7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13" name="Google Shape;13;p1" descr="HEC PARIS-01.png"/>
          <p:cNvPicPr preferRelativeResize="0"/>
          <p:nvPr userDrawn="1"/>
        </p:nvPicPr>
        <p:blipFill rotWithShape="1">
          <a:blip r:embed="rId13">
            <a:alphaModFix/>
          </a:blip>
          <a:srcRect/>
          <a:stretch/>
        </p:blipFill>
        <p:spPr>
          <a:xfrm>
            <a:off x="590297" y="6298172"/>
            <a:ext cx="825656" cy="423305"/>
          </a:xfrm>
          <a:prstGeom prst="rect">
            <a:avLst/>
          </a:prstGeom>
          <a:noFill/>
          <a:ln>
            <a:noFill/>
          </a:ln>
        </p:spPr>
      </p:pic>
      <p:cxnSp>
        <p:nvCxnSpPr>
          <p:cNvPr id="14" name="Google Shape;14;p1"/>
          <p:cNvCxnSpPr>
            <a:stCxn id="13" idx="3"/>
          </p:cNvCxnSpPr>
          <p:nvPr userDrawn="1"/>
        </p:nvCxnSpPr>
        <p:spPr>
          <a:xfrm rot="10800000" flipH="1">
            <a:off x="1415953" y="6509824"/>
            <a:ext cx="9666400" cy="0"/>
          </a:xfrm>
          <a:prstGeom prst="straightConnector1">
            <a:avLst/>
          </a:prstGeom>
          <a:noFill/>
          <a:ln w="9525" cap="flat" cmpd="sng">
            <a:solidFill>
              <a:srgbClr val="003A70"/>
            </a:solidFill>
            <a:prstDash val="solid"/>
            <a:round/>
            <a:headEnd type="none" w="sm" len="sm"/>
            <a:tailEnd type="none" w="sm" len="sm"/>
          </a:ln>
        </p:spPr>
      </p:cxnSp>
      <p:pic>
        <p:nvPicPr>
          <p:cNvPr id="7" name="Picture 2" descr="Logo"/>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662159" y="6163432"/>
            <a:ext cx="1968000" cy="6945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D:\Documents\Hi-Paris\Présentations\logo-Hi-paris-petit.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704118" y="6237001"/>
            <a:ext cx="802127" cy="528847"/>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3">
            <a:extLst>
              <a:ext uri="{FF2B5EF4-FFF2-40B4-BE49-F238E27FC236}">
                <a16:creationId xmlns:a16="http://schemas.microsoft.com/office/drawing/2014/main" id="{490D39A6-2DE4-4F80-A01B-DD7051159CF9}"/>
              </a:ext>
            </a:extLst>
          </p:cNvPr>
          <p:cNvSpPr txBox="1">
            <a:spLocks/>
          </p:cNvSpPr>
          <p:nvPr userDrawn="1"/>
        </p:nvSpPr>
        <p:spPr>
          <a:xfrm>
            <a:off x="11630159" y="6330918"/>
            <a:ext cx="485640" cy="365125"/>
          </a:xfrm>
          <a:prstGeom prst="rect">
            <a:avLst/>
          </a:prstGeom>
          <a:noFill/>
          <a:ln>
            <a:noFill/>
          </a:ln>
        </p:spPr>
        <p:txBody>
          <a:bodyPr spcFirstLastPara="1" wrap="square" lIns="121900" tIns="60933" rIns="121900" bIns="60933"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rgbClr val="003A70"/>
                </a:solidFill>
                <a:latin typeface="Arial"/>
                <a:ea typeface="Arial"/>
                <a:cs typeface="Arial"/>
                <a:sym typeface="Arial"/>
              </a:defRPr>
            </a:lvl9pPr>
          </a:lstStyle>
          <a:p>
            <a:fld id="{00000000-1234-1234-1234-123412341234}" type="slidenum">
              <a:rPr lang="fr-FR" sz="1333" smtClean="0"/>
              <a:pPr/>
              <a:t>‹#›</a:t>
            </a:fld>
            <a:endParaRPr lang="fr-FR" sz="1333"/>
          </a:p>
        </p:txBody>
      </p:sp>
      <p:sp>
        <p:nvSpPr>
          <p:cNvPr id="9" name="Rectangle: Rounded Corners 8">
            <a:extLst>
              <a:ext uri="{FF2B5EF4-FFF2-40B4-BE49-F238E27FC236}">
                <a16:creationId xmlns:a16="http://schemas.microsoft.com/office/drawing/2014/main" id="{A1F8EA69-F444-4675-BD15-5CAFE7B63786}"/>
              </a:ext>
            </a:extLst>
          </p:cNvPr>
          <p:cNvSpPr/>
          <p:nvPr userDrawn="1"/>
        </p:nvSpPr>
        <p:spPr>
          <a:xfrm>
            <a:off x="12306205" y="11568"/>
            <a:ext cx="394736" cy="599440"/>
          </a:xfrm>
          <a:prstGeom prst="round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0</a:t>
            </a:r>
          </a:p>
          <a:p>
            <a:pPr algn="ctr"/>
            <a:r>
              <a:rPr lang="fr-FR" sz="1067" b="1">
                <a:solidFill>
                  <a:schemeClr val="tx1"/>
                </a:solidFill>
              </a:rPr>
              <a:t>69</a:t>
            </a:r>
          </a:p>
          <a:p>
            <a:pPr algn="ctr"/>
            <a:r>
              <a:rPr lang="fr-FR" sz="1067" b="1">
                <a:solidFill>
                  <a:schemeClr val="tx1"/>
                </a:solidFill>
              </a:rPr>
              <a:t>117</a:t>
            </a:r>
          </a:p>
        </p:txBody>
      </p:sp>
      <p:sp>
        <p:nvSpPr>
          <p:cNvPr id="11" name="Rectangle: Rounded Corners 10">
            <a:extLst>
              <a:ext uri="{FF2B5EF4-FFF2-40B4-BE49-F238E27FC236}">
                <a16:creationId xmlns:a16="http://schemas.microsoft.com/office/drawing/2014/main" id="{25D5F18A-9B1E-41FE-A021-F456883AA3EA}"/>
              </a:ext>
            </a:extLst>
          </p:cNvPr>
          <p:cNvSpPr/>
          <p:nvPr userDrawn="1"/>
        </p:nvSpPr>
        <p:spPr>
          <a:xfrm>
            <a:off x="12780339" y="696267"/>
            <a:ext cx="394736" cy="599440"/>
          </a:xfrm>
          <a:prstGeom prst="roundRect">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30</a:t>
            </a:r>
          </a:p>
          <a:p>
            <a:pPr algn="ctr"/>
            <a:r>
              <a:rPr lang="fr-FR" sz="1067" b="1">
                <a:solidFill>
                  <a:schemeClr val="tx1"/>
                </a:solidFill>
              </a:rPr>
              <a:t>24</a:t>
            </a:r>
          </a:p>
          <a:p>
            <a:pPr algn="ctr"/>
            <a:r>
              <a:rPr lang="fr-FR" sz="1067" b="1">
                <a:solidFill>
                  <a:schemeClr val="tx1"/>
                </a:solidFill>
              </a:rPr>
              <a:t>83</a:t>
            </a:r>
          </a:p>
        </p:txBody>
      </p:sp>
      <p:sp>
        <p:nvSpPr>
          <p:cNvPr id="12" name="Rectangle: Rounded Corners 11">
            <a:extLst>
              <a:ext uri="{FF2B5EF4-FFF2-40B4-BE49-F238E27FC236}">
                <a16:creationId xmlns:a16="http://schemas.microsoft.com/office/drawing/2014/main" id="{01CBFC71-6D5F-47F4-94F6-A2C7795923AF}"/>
              </a:ext>
            </a:extLst>
          </p:cNvPr>
          <p:cNvSpPr/>
          <p:nvPr userDrawn="1"/>
        </p:nvSpPr>
        <p:spPr>
          <a:xfrm>
            <a:off x="12306205" y="696267"/>
            <a:ext cx="394736" cy="599440"/>
          </a:xfrm>
          <a:prstGeom prst="roundRect">
            <a:avLst/>
          </a:pr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rPr>
              <a:t>255</a:t>
            </a:r>
          </a:p>
          <a:p>
            <a:pPr algn="ctr"/>
            <a:r>
              <a:rPr lang="fr-FR" sz="1067" b="1">
                <a:solidFill>
                  <a:schemeClr val="tx1"/>
                </a:solidFill>
              </a:rPr>
              <a:t>0</a:t>
            </a:r>
          </a:p>
          <a:p>
            <a:pPr algn="ctr"/>
            <a:r>
              <a:rPr lang="fr-FR" sz="1067" b="1">
                <a:solidFill>
                  <a:schemeClr val="tx1"/>
                </a:solidFill>
              </a:rPr>
              <a:t>77</a:t>
            </a:r>
          </a:p>
        </p:txBody>
      </p:sp>
      <p:sp>
        <p:nvSpPr>
          <p:cNvPr id="15" name="Rectangle: Rounded Corners 14">
            <a:extLst>
              <a:ext uri="{FF2B5EF4-FFF2-40B4-BE49-F238E27FC236}">
                <a16:creationId xmlns:a16="http://schemas.microsoft.com/office/drawing/2014/main" id="{80E764E1-AF0B-4198-8214-E0C524418564}"/>
              </a:ext>
            </a:extLst>
          </p:cNvPr>
          <p:cNvSpPr/>
          <p:nvPr userDrawn="1"/>
        </p:nvSpPr>
        <p:spPr>
          <a:xfrm>
            <a:off x="12780339" y="2065664"/>
            <a:ext cx="394736" cy="59944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bg1"/>
                </a:solidFill>
              </a:rPr>
              <a:t>255</a:t>
            </a:r>
          </a:p>
          <a:p>
            <a:pPr algn="ctr"/>
            <a:r>
              <a:rPr lang="fr-FR" sz="1067" b="1">
                <a:solidFill>
                  <a:schemeClr val="bg1"/>
                </a:solidFill>
              </a:rPr>
              <a:t>255</a:t>
            </a:r>
          </a:p>
          <a:p>
            <a:pPr algn="ctr"/>
            <a:r>
              <a:rPr lang="fr-FR" sz="1067" b="1">
                <a:solidFill>
                  <a:schemeClr val="bg1"/>
                </a:solidFill>
              </a:rPr>
              <a:t>255</a:t>
            </a:r>
          </a:p>
        </p:txBody>
      </p:sp>
      <p:sp>
        <p:nvSpPr>
          <p:cNvPr id="17" name="Rectangle: Rounded Corners 16">
            <a:extLst>
              <a:ext uri="{FF2B5EF4-FFF2-40B4-BE49-F238E27FC236}">
                <a16:creationId xmlns:a16="http://schemas.microsoft.com/office/drawing/2014/main" id="{753D6241-7A58-4625-8E6C-2F400FA6581F}"/>
              </a:ext>
            </a:extLst>
          </p:cNvPr>
          <p:cNvSpPr/>
          <p:nvPr userDrawn="1"/>
        </p:nvSpPr>
        <p:spPr>
          <a:xfrm>
            <a:off x="12780339" y="1380965"/>
            <a:ext cx="394736" cy="599440"/>
          </a:xfrm>
          <a:prstGeom prst="roundRect">
            <a:avLst/>
          </a:prstGeom>
          <a:solidFill>
            <a:srgbClr val="E5E3E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9</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7</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000000"/>
                </a:solidFill>
                <a:effectLst/>
                <a:uLnTx/>
                <a:uFillTx/>
                <a:latin typeface="Arial"/>
                <a:ea typeface="+mn-ea"/>
                <a:cs typeface="+mn-cs"/>
              </a:rPr>
              <a:t>228</a:t>
            </a:r>
          </a:p>
        </p:txBody>
      </p:sp>
      <p:sp>
        <p:nvSpPr>
          <p:cNvPr id="18" name="Rectangle: Rounded Corners 17">
            <a:extLst>
              <a:ext uri="{FF2B5EF4-FFF2-40B4-BE49-F238E27FC236}">
                <a16:creationId xmlns:a16="http://schemas.microsoft.com/office/drawing/2014/main" id="{489B15D8-6688-4961-83B3-FAD6480AD2C0}"/>
              </a:ext>
            </a:extLst>
          </p:cNvPr>
          <p:cNvSpPr/>
          <p:nvPr userDrawn="1"/>
        </p:nvSpPr>
        <p:spPr>
          <a:xfrm>
            <a:off x="12780339" y="11568"/>
            <a:ext cx="394736" cy="599440"/>
          </a:xfrm>
          <a:prstGeom prst="roundRect">
            <a:avLst/>
          </a:prstGeom>
          <a:solidFill>
            <a:srgbClr val="385D8A"/>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56</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93</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a:ln>
                  <a:noFill/>
                </a:ln>
                <a:solidFill>
                  <a:srgbClr val="FFFFFF"/>
                </a:solidFill>
                <a:effectLst/>
                <a:uLnTx/>
                <a:uFillTx/>
                <a:ea typeface="+mn-ea"/>
              </a:rPr>
              <a:t>138</a:t>
            </a:r>
          </a:p>
        </p:txBody>
      </p:sp>
      <p:sp>
        <p:nvSpPr>
          <p:cNvPr id="19" name="Rectangle: Rounded Corners 18">
            <a:extLst>
              <a:ext uri="{FF2B5EF4-FFF2-40B4-BE49-F238E27FC236}">
                <a16:creationId xmlns:a16="http://schemas.microsoft.com/office/drawing/2014/main" id="{BF33F0F0-62D3-46D1-94D9-C9F45645341E}"/>
              </a:ext>
            </a:extLst>
          </p:cNvPr>
          <p:cNvSpPr/>
          <p:nvPr userDrawn="1"/>
        </p:nvSpPr>
        <p:spPr>
          <a:xfrm>
            <a:off x="12306205" y="1380965"/>
            <a:ext cx="394736" cy="5994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67" b="1">
                <a:solidFill>
                  <a:schemeClr val="tx1"/>
                </a:solidFill>
                <a:latin typeface="+mn-lt"/>
                <a:ea typeface="+mn-ea"/>
                <a:cs typeface="+mn-cs"/>
              </a:rPr>
              <a:t>0</a:t>
            </a:r>
          </a:p>
          <a:p>
            <a:pPr algn="ctr"/>
            <a:r>
              <a:rPr lang="fr-FR" sz="1067" b="1">
                <a:solidFill>
                  <a:schemeClr val="tx1"/>
                </a:solidFill>
              </a:rPr>
              <a:t>0</a:t>
            </a:r>
          </a:p>
          <a:p>
            <a:pPr algn="ctr"/>
            <a:r>
              <a:rPr lang="fr-FR" sz="1067" b="1">
                <a:solidFill>
                  <a:schemeClr val="tx1"/>
                </a:solidFill>
                <a:latin typeface="+mn-lt"/>
                <a:ea typeface="+mn-ea"/>
                <a:cs typeface="+mn-cs"/>
              </a:rPr>
              <a:t>0</a:t>
            </a:r>
          </a:p>
        </p:txBody>
      </p:sp>
    </p:spTree>
    <p:extLst>
      <p:ext uri="{BB962C8B-B14F-4D97-AF65-F5344CB8AC3E}">
        <p14:creationId xmlns:p14="http://schemas.microsoft.com/office/powerpoint/2010/main" val="938901486"/>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067"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380990" marR="0" lvl="0" indent="-380990" algn="l" rtl="0" eaLnBrk="1" hangingPunct="1">
        <a:lnSpc>
          <a:spcPct val="100000"/>
        </a:lnSpc>
        <a:spcBef>
          <a:spcPts val="0"/>
        </a:spcBef>
        <a:spcAft>
          <a:spcPts val="0"/>
        </a:spcAft>
        <a:buClr>
          <a:srgbClr val="003A70"/>
        </a:buClr>
        <a:buSzPts val="1800"/>
        <a:buFont typeface="Arial" panose="020B0604020202020204" pitchFamily="34" charset="0"/>
        <a:buChar char="•"/>
        <a:defRPr lang="en-US" sz="1867" b="1" i="0" u="none" strike="noStrike" cap="none" spc="-27" baseline="0" dirty="0" smtClean="0">
          <a:solidFill>
            <a:srgbClr val="004575"/>
          </a:solidFill>
          <a:latin typeface="Arial"/>
          <a:ea typeface="Arial"/>
          <a:cs typeface="Arial"/>
          <a:sym typeface="Arial"/>
        </a:defRPr>
      </a:lvl1pPr>
      <a:lvl2pPr marL="859345" marR="0" lvl="1" indent="-380990" algn="l" rtl="0" eaLnBrk="1" hangingPunct="1">
        <a:lnSpc>
          <a:spcPct val="100000"/>
        </a:lnSpc>
        <a:spcBef>
          <a:spcPts val="0"/>
        </a:spcBef>
        <a:spcAft>
          <a:spcPts val="0"/>
        </a:spcAft>
        <a:buClr>
          <a:srgbClr val="000000"/>
        </a:buClr>
        <a:buFont typeface="Arial" panose="020B0604020202020204" pitchFamily="34" charset="0"/>
        <a:buChar char="–"/>
        <a:defRPr lang="en-US" sz="1867" b="0" i="0" u="none" strike="noStrike" cap="none" dirty="0" smtClean="0">
          <a:solidFill>
            <a:srgbClr val="000000"/>
          </a:solidFill>
          <a:latin typeface="Arial"/>
          <a:ea typeface="Arial"/>
          <a:cs typeface="Arial"/>
          <a:sym typeface="Arial"/>
        </a:defRPr>
      </a:lvl2pPr>
      <a:lvl3pPr marL="1335584" marR="0" lvl="2" indent="-380990" algn="l" rtl="0" eaLnBrk="1" hangingPunct="1">
        <a:lnSpc>
          <a:spcPct val="100000"/>
        </a:lnSpc>
        <a:spcBef>
          <a:spcPts val="0"/>
        </a:spcBef>
        <a:spcAft>
          <a:spcPts val="0"/>
        </a:spcAft>
        <a:buClr>
          <a:srgbClr val="000000"/>
        </a:buClr>
        <a:buFont typeface="Courier New" panose="02070309020205020404" pitchFamily="49" charset="0"/>
        <a:buChar char="o"/>
        <a:defRPr lang="en-US" sz="1867" b="0" i="0" u="none" strike="noStrike" cap="none" dirty="0" smtClean="0">
          <a:solidFill>
            <a:srgbClr val="000000"/>
          </a:solidFill>
          <a:latin typeface="Arial"/>
          <a:ea typeface="Arial"/>
          <a:cs typeface="Arial"/>
          <a:sym typeface="Arial"/>
        </a:defRPr>
      </a:lvl3pPr>
      <a:lvl4pPr marL="1813939" marR="0" lvl="3" indent="-380990" algn="l" rtl="0" eaLnBrk="1" hangingPunct="1">
        <a:lnSpc>
          <a:spcPct val="100000"/>
        </a:lnSpc>
        <a:spcBef>
          <a:spcPts val="0"/>
        </a:spcBef>
        <a:spcAft>
          <a:spcPts val="0"/>
        </a:spcAft>
        <a:buClr>
          <a:srgbClr val="000000"/>
        </a:buClr>
        <a:buFont typeface="Wingdings" panose="05000000000000000000" pitchFamily="2" charset="2"/>
        <a:buChar char="§"/>
        <a:defRPr lang="en-US" sz="1867" b="0" i="0" u="none" strike="noStrike" cap="none" dirty="0" smtClean="0">
          <a:solidFill>
            <a:srgbClr val="000000"/>
          </a:solidFill>
          <a:latin typeface="Arial"/>
          <a:ea typeface="Arial"/>
          <a:cs typeface="Arial"/>
          <a:sym typeface="Arial"/>
        </a:defRPr>
      </a:lvl4pPr>
      <a:lvl5pPr marL="2290176" marR="0" lvl="4" indent="-380990" algn="l" rtl="0" eaLnBrk="1" hangingPunct="1">
        <a:lnSpc>
          <a:spcPct val="100000"/>
        </a:lnSpc>
        <a:spcBef>
          <a:spcPts val="0"/>
        </a:spcBef>
        <a:spcAft>
          <a:spcPts val="0"/>
        </a:spcAft>
        <a:buClr>
          <a:srgbClr val="000000"/>
        </a:buClr>
        <a:buFont typeface="Wingdings" panose="05000000000000000000" pitchFamily="2" charset="2"/>
        <a:buChar char="Ø"/>
        <a:defRPr lang="fr-FR" sz="1867" b="0" i="0" u="none" strike="noStrike" cap="none" dirty="0">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3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11717168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E2E OTC rates value chain | Capgemini Invent proposition | July 2</a:t>
            </a:r>
            <a:r>
              <a:rPr lang="en-US" sz="700" kern="0" baseline="30000">
                <a:solidFill>
                  <a:srgbClr val="A6A6A6"/>
                </a:solidFill>
                <a:latin typeface="Ubuntu" panose="020B0504030602030204" pitchFamily="34" charset="0"/>
                <a:cs typeface="Arial" panose="020B0604020202020204" pitchFamily="34" charset="0"/>
              </a:rPr>
              <a:t>nd</a:t>
            </a:r>
            <a:r>
              <a:rPr lang="en-US" sz="700" kern="0">
                <a:solidFill>
                  <a:srgbClr val="A6A6A6"/>
                </a:solidFill>
                <a:latin typeface="Ubuntu" panose="020B0504030602030204" pitchFamily="34" charset="0"/>
                <a:cs typeface="Arial" panose="020B0604020202020204" pitchFamily="34" charset="0"/>
              </a:rPr>
              <a:t> 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1. All rights reserved  |</a:t>
            </a:r>
          </a:p>
        </p:txBody>
      </p:sp>
    </p:spTree>
    <p:extLst>
      <p:ext uri="{BB962C8B-B14F-4D97-AF65-F5344CB8AC3E}">
        <p14:creationId xmlns:p14="http://schemas.microsoft.com/office/powerpoint/2010/main" val="165658259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extLst>
              <p:ext uri="{D42A27DB-BD31-4B8C-83A1-F6EECF244321}">
                <p14:modId xmlns:p14="http://schemas.microsoft.com/office/powerpoint/2010/main" val="2908873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1" name="Object 2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1. All rights reserved  |</a:t>
            </a:r>
          </a:p>
        </p:txBody>
      </p:sp>
    </p:spTree>
    <p:extLst>
      <p:ext uri="{BB962C8B-B14F-4D97-AF65-F5344CB8AC3E}">
        <p14:creationId xmlns:p14="http://schemas.microsoft.com/office/powerpoint/2010/main" val="212334198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p:cNvGraphicFramePr>
            <a:graphicFrameLocks noChangeAspect="1"/>
          </p:cNvGraphicFramePr>
          <p:nvPr>
            <p:custDataLst>
              <p:tags r:id="rId16"/>
            </p:custDataLst>
            <p:extLst>
              <p:ext uri="{D42A27DB-BD31-4B8C-83A1-F6EECF244321}">
                <p14:modId xmlns:p14="http://schemas.microsoft.com/office/powerpoint/2010/main" val="142435354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21" name="Object"/>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grpSp>
        <p:nvGrpSpPr>
          <p:cNvPr id="92" name="Group_Sticker" hidden="1"/>
          <p:cNvGrpSpPr/>
          <p:nvPr userDrawn="1"/>
        </p:nvGrpSpPr>
        <p:grpSpPr>
          <a:xfrm>
            <a:off x="11410737" y="1314004"/>
            <a:ext cx="562654" cy="242788"/>
            <a:chOff x="8505826" y="-2406898"/>
            <a:chExt cx="562654" cy="242788"/>
          </a:xfrm>
        </p:grpSpPr>
        <p:sp>
          <p:nvSpPr>
            <p:cNvPr id="93" name="Textfeld 92"/>
            <p:cNvSpPr txBox="1"/>
            <p:nvPr/>
          </p:nvSpPr>
          <p:spPr>
            <a:xfrm>
              <a:off x="8505826" y="-2356098"/>
              <a:ext cx="562654" cy="153888"/>
            </a:xfrm>
            <a:prstGeom prst="rect">
              <a:avLst/>
            </a:prstGeom>
          </p:spPr>
          <p:txBody>
            <a:bodyPr vert="horz" wrap="none" lIns="0" tIns="0" rIns="0" bIns="0" rtlCol="0" anchor="ctr">
              <a:spAutoFit/>
            </a:bodyPr>
            <a:lstStyle/>
            <a:p>
              <a:pPr algn="ctr"/>
              <a:r>
                <a:rPr lang="de-DE" sz="1000" b="1"/>
                <a:t>STICKER</a:t>
              </a:r>
            </a:p>
          </p:txBody>
        </p:sp>
        <p:cxnSp>
          <p:nvCxnSpPr>
            <p:cNvPr id="97" name="Gerader Verbinder 96"/>
            <p:cNvCxnSpPr/>
            <p:nvPr/>
          </p:nvCxnSpPr>
          <p:spPr>
            <a:xfrm>
              <a:off x="8505826" y="-2406898"/>
              <a:ext cx="5626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8505826" y="-2164110"/>
              <a:ext cx="56265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1" name="FootnoteAndSource" hidden="1">
            <a:extLst>
              <a:ext uri="{FF2B5EF4-FFF2-40B4-BE49-F238E27FC236}">
                <a16:creationId xmlns:a16="http://schemas.microsoft.com/office/drawing/2014/main" id="{2683B2D7-11AF-4AFA-BA6D-D42EAA9BAA37}"/>
              </a:ext>
            </a:extLst>
          </p:cNvPr>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a:t>	Source:	Source Text</a:t>
            </a:r>
          </a:p>
        </p:txBody>
      </p:sp>
      <p:sp>
        <p:nvSpPr>
          <p:cNvPr id="88" name="CapgeminiBox" hidden="1">
            <a:extLst>
              <a:ext uri="{FF2B5EF4-FFF2-40B4-BE49-F238E27FC236}">
                <a16:creationId xmlns:a16="http://schemas.microsoft.com/office/drawing/2014/main" id="{9BD50CCB-2161-4578-8F33-E8B1078DD298}"/>
              </a:ext>
            </a:extLst>
          </p:cNvPr>
          <p:cNvSpPr txBox="1">
            <a:spLocks/>
          </p:cNvSpPr>
          <p:nvPr userDrawn="1"/>
        </p:nvSpPr>
        <p:spPr>
          <a:xfrm>
            <a:off x="411252" y="82573"/>
            <a:ext cx="1940332" cy="3063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Global V9.1</a:t>
            </a:r>
          </a:p>
          <a:p>
            <a:pPr lvl="4"/>
            <a:endParaRPr lang="en-US"/>
          </a:p>
        </p:txBody>
      </p:sp>
      <p:grpSp>
        <p:nvGrpSpPr>
          <p:cNvPr id="94" name="CG Spade Blue">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Content Placeholder"/>
          <p:cNvSpPr>
            <a:spLocks noGrp="1"/>
          </p:cNvSpPr>
          <p:nvPr>
            <p:ph type="body" idx="1"/>
          </p:nvPr>
        </p:nvSpPr>
        <p:spPr>
          <a:xfrm>
            <a:off x="404813" y="1329743"/>
            <a:ext cx="11379600" cy="513455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6" name="Footer Slide number">
            <a:extLst>
              <a:ext uri="{FF2B5EF4-FFF2-40B4-BE49-F238E27FC236}">
                <a16:creationId xmlns:a16="http://schemas.microsoft.com/office/drawing/2014/main" id="{5539996C-DD2A-49D6-AFB0-763FCB2EE440}"/>
              </a:ext>
            </a:extLst>
          </p:cNvPr>
          <p:cNvSpPr/>
          <p:nvPr userDrawn="1"/>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a:t>
            </a:fld>
            <a:endParaRPr lang="en-US" sz="700">
              <a:solidFill>
                <a:srgbClr val="A6A6A6"/>
              </a:solidFill>
              <a:latin typeface="+mn-lt"/>
              <a:cs typeface="Arial" panose="020B0604020202020204" pitchFamily="34" charset="0"/>
            </a:endParaRPr>
          </a:p>
        </p:txBody>
      </p:sp>
      <p:sp>
        <p:nvSpPr>
          <p:cNvPr id="89" name="Footer Copyright">
            <a:extLst>
              <a:ext uri="{FF2B5EF4-FFF2-40B4-BE49-F238E27FC236}">
                <a16:creationId xmlns:a16="http://schemas.microsoft.com/office/drawing/2014/main" id="{01D50803-B26A-4936-A06C-6E086A6DD719}"/>
              </a:ext>
            </a:extLst>
          </p:cNvPr>
          <p:cNvSpPr/>
          <p:nvPr userDrawn="1"/>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apgemini 2021. All rights reserved  |</a:t>
            </a:r>
          </a:p>
        </p:txBody>
      </p:sp>
      <p:sp>
        <p:nvSpPr>
          <p:cNvPr id="62" name="TextBoxFileName">
            <a:extLst>
              <a:ext uri="{FF2B5EF4-FFF2-40B4-BE49-F238E27FC236}">
                <a16:creationId xmlns:a16="http://schemas.microsoft.com/office/drawing/2014/main" id="{CB4B3393-018E-4D63-9562-C180FB014564}"/>
              </a:ext>
            </a:extLst>
          </p:cNvPr>
          <p:cNvSpPr/>
          <p:nvPr userDrawn="1"/>
        </p:nvSpPr>
        <p:spPr>
          <a:xfrm>
            <a:off x="397094" y="6532276"/>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700">
                <a:solidFill>
                  <a:srgbClr val="A6A6A6"/>
                </a:solidFill>
                <a:latin typeface="+mn-lt"/>
              </a:rPr>
              <a:t>Capgemini Standard Template.potx</a:t>
            </a:r>
            <a:endParaRPr lang="de-DE" sz="700">
              <a:solidFill>
                <a:srgbClr val="A6A6A6"/>
              </a:solidFill>
              <a:latin typeface="+mn-lt"/>
            </a:endParaRPr>
          </a:p>
        </p:txBody>
      </p:sp>
      <p:sp>
        <p:nvSpPr>
          <p:cNvPr id="64" name="Title Placeholder 1">
            <a:extLst>
              <a:ext uri="{FF2B5EF4-FFF2-40B4-BE49-F238E27FC236}">
                <a16:creationId xmlns:a16="http://schemas.microsoft.com/office/drawing/2014/main" id="{AFE02BC7-53A9-433B-A827-76F69AED5F28}"/>
              </a:ext>
            </a:extLst>
          </p:cNvPr>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24" name="SEC1" hidden="1">
            <a:extLst>
              <a:ext uri="{FF2B5EF4-FFF2-40B4-BE49-F238E27FC236}">
                <a16:creationId xmlns:a16="http://schemas.microsoft.com/office/drawing/2014/main" id="{79E04ADF-8D80-4EC8-B080-A98B163D7F8F}"/>
              </a:ext>
            </a:extLst>
          </p:cNvPr>
          <p:cNvSpPr/>
          <p:nvPr userDrawn="1"/>
        </p:nvSpPr>
        <p:spPr>
          <a:xfrm>
            <a:off x="11548715" y="656744"/>
            <a:ext cx="468000" cy="468000"/>
          </a:xfrm>
          <a:prstGeom prst="rect">
            <a:avLst/>
          </a:prstGeom>
          <a:blipFill>
            <a:blip r:embed="rId19"/>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SEC3" hidden="1">
            <a:extLst>
              <a:ext uri="{FF2B5EF4-FFF2-40B4-BE49-F238E27FC236}">
                <a16:creationId xmlns:a16="http://schemas.microsoft.com/office/drawing/2014/main" id="{5A8C4100-1D6B-4E87-AF56-968A18021B35}"/>
              </a:ext>
            </a:extLst>
          </p:cNvPr>
          <p:cNvSpPr/>
          <p:nvPr userDrawn="1"/>
        </p:nvSpPr>
        <p:spPr>
          <a:xfrm>
            <a:off x="11548715" y="656744"/>
            <a:ext cx="468000" cy="468000"/>
          </a:xfrm>
          <a:prstGeom prst="rect">
            <a:avLst/>
          </a:prstGeom>
          <a:blipFill>
            <a:blip r:embed="rId20"/>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6" name="SEC2" hidden="1">
            <a:extLst>
              <a:ext uri="{FF2B5EF4-FFF2-40B4-BE49-F238E27FC236}">
                <a16:creationId xmlns:a16="http://schemas.microsoft.com/office/drawing/2014/main" id="{84FDC387-8B88-4355-B0FC-3E25C90774B1}"/>
              </a:ext>
            </a:extLst>
          </p:cNvPr>
          <p:cNvSpPr/>
          <p:nvPr userDrawn="1"/>
        </p:nvSpPr>
        <p:spPr>
          <a:xfrm>
            <a:off x="11548715" y="656744"/>
            <a:ext cx="468000" cy="468000"/>
          </a:xfrm>
          <a:prstGeom prst="rect">
            <a:avLst/>
          </a:prstGeom>
          <a:blipFill>
            <a:blip r:embed="rId2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7" name="SEC0" hidden="1">
            <a:extLst>
              <a:ext uri="{FF2B5EF4-FFF2-40B4-BE49-F238E27FC236}">
                <a16:creationId xmlns:a16="http://schemas.microsoft.com/office/drawing/2014/main" id="{1D082514-D1C9-4F6B-B2B5-F4925246CB07}"/>
              </a:ext>
            </a:extLst>
          </p:cNvPr>
          <p:cNvSpPr/>
          <p:nvPr userDrawn="1"/>
        </p:nvSpPr>
        <p:spPr>
          <a:xfrm>
            <a:off x="11548715" y="656744"/>
            <a:ext cx="468000" cy="468000"/>
          </a:xfrm>
          <a:prstGeom prst="rect">
            <a:avLst/>
          </a:prstGeom>
          <a:blipFill>
            <a:blip r:embed="rId2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Tree>
    <p:extLst>
      <p:ext uri="{BB962C8B-B14F-4D97-AF65-F5344CB8AC3E}">
        <p14:creationId xmlns:p14="http://schemas.microsoft.com/office/powerpoint/2010/main" val="1029642247"/>
      </p:ext>
    </p:extLst>
  </p:cSld>
  <p:clrMap bg1="lt1" tx1="dk1" bg2="lt2" tx2="dk2" accent1="accent1" accent2="accent2" accent3="accent3" accent4="accent4" accent5="accent5" accent6="accent6" hlink="hlink" folHlink="folHlink"/>
  <p:sldLayoutIdLst>
    <p:sldLayoutId id="2147483803"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23">
          <p15:clr>
            <a:srgbClr val="F26B43"/>
          </p15:clr>
        </p15:guide>
        <p15:guide id="3" orient="horz" pos="4071">
          <p15:clr>
            <a:srgbClr val="F26B43"/>
          </p15:clr>
        </p15:guide>
        <p15:guide id="4" pos="255">
          <p15:clr>
            <a:srgbClr val="F26B43"/>
          </p15:clr>
        </p15:guide>
        <p15:guide id="5" orient="horz" pos="708">
          <p15:clr>
            <a:srgbClr val="F26B43"/>
          </p15:clr>
        </p15:guide>
        <p15:guide id="7" pos="3840">
          <p15:clr>
            <a:srgbClr val="F26B43"/>
          </p15:clr>
        </p15:guide>
        <p15:guide id="8" pos="3897">
          <p15:clr>
            <a:srgbClr val="F26B43"/>
          </p15:clr>
        </p15:guide>
        <p15:guide id="9" pos="3783">
          <p15:clr>
            <a:srgbClr val="F26B43"/>
          </p15:clr>
        </p15:guide>
        <p15:guide id="14" orient="horz" pos="2160">
          <p15:clr>
            <a:srgbClr val="F26B43"/>
          </p15:clr>
        </p15:guide>
        <p15:guide id="23" orient="horz" pos="836">
          <p15:clr>
            <a:srgbClr val="F26B43"/>
          </p15:clr>
        </p15:guide>
        <p15:guide id="24" orient="horz" pos="24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800.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3.png"/></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hyperlink" Target="http://hvrl.ics.keio.ac.jp/paper/pdf/international_Conference/2013/ICME_IMV2014_shinozuka.pdf" TargetMode="External"/><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89.png"/></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6.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96.svg"/></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hyperlink" Target="https://doodle.com/poll/vhbi23ht693ex2f6?utm_source=poll&amp;utm_medium=link" TargetMode="External"/><Relationship Id="rId4" Type="http://schemas.openxmlformats.org/officeDocument/2006/relationships/image" Target="../media/image102.svg"/></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05.png"/><Relationship Id="rId5" Type="http://schemas.microsoft.com/office/2007/relationships/hdphoto" Target="../media/hdphoto10.wdp"/><Relationship Id="rId4" Type="http://schemas.openxmlformats.org/officeDocument/2006/relationships/image" Target="../media/image104.png"/></Relationships>
</file>

<file path=ppt/slides/_rels/slide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sv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s>
</file>

<file path=ppt/slides/_rels/slide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hyperlink" Target="https://hackathon-hi-paris.fr/" TargetMode="External"/><Relationship Id="rId5" Type="http://schemas.openxmlformats.org/officeDocument/2006/relationships/hyperlink" Target="https://discord.gg/UjWZ3KJ6dN" TargetMode="External"/><Relationship Id="rId4" Type="http://schemas.openxmlformats.org/officeDocument/2006/relationships/hyperlink" Target="https://doodle.com/poll/vhbi23ht693ex2f6?utm_source=poll&amp;utm_medium=link"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jpeg"/><Relationship Id="rId18" Type="http://schemas.openxmlformats.org/officeDocument/2006/relationships/image" Target="../media/image57.jpeg"/><Relationship Id="rId3" Type="http://schemas.openxmlformats.org/officeDocument/2006/relationships/image" Target="../media/image47.png"/><Relationship Id="rId7" Type="http://schemas.microsoft.com/office/2007/relationships/hdphoto" Target="../media/hdphoto7.wdp"/><Relationship Id="rId12" Type="http://schemas.openxmlformats.org/officeDocument/2006/relationships/image" Target="../media/image3.png"/><Relationship Id="rId17" Type="http://schemas.microsoft.com/office/2007/relationships/hdphoto" Target="../media/hdphoto9.wdp"/><Relationship Id="rId2" Type="http://schemas.openxmlformats.org/officeDocument/2006/relationships/notesSlide" Target="../notesSlides/notesSlide3.xml"/><Relationship Id="rId16"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49.png"/><Relationship Id="rId11" Type="http://schemas.openxmlformats.org/officeDocument/2006/relationships/image" Target="../media/image52.jpeg"/><Relationship Id="rId5" Type="http://schemas.openxmlformats.org/officeDocument/2006/relationships/image" Target="../media/image48.jpeg"/><Relationship Id="rId15" Type="http://schemas.openxmlformats.org/officeDocument/2006/relationships/image" Target="../media/image55.jpeg"/><Relationship Id="rId10" Type="http://schemas.openxmlformats.org/officeDocument/2006/relationships/image" Target="../media/image51.jpeg"/><Relationship Id="rId19" Type="http://schemas.openxmlformats.org/officeDocument/2006/relationships/image" Target="../media/image58.jpeg"/><Relationship Id="rId4" Type="http://schemas.microsoft.com/office/2007/relationships/hdphoto" Target="../media/hdphoto6.wdp"/><Relationship Id="rId9" Type="http://schemas.microsoft.com/office/2007/relationships/hdphoto" Target="../media/hdphoto8.wdp"/><Relationship Id="rId14" Type="http://schemas.openxmlformats.org/officeDocument/2006/relationships/image" Target="../media/image54.jpeg"/></Relationships>
</file>

<file path=ppt/slides/_rels/slide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Layout" Target="../slideLayouts/slideLayout1.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hyperlink" Target="https://www.insee.fr/fr/statistiques/5013868" TargetMode="External"/><Relationship Id="rId9" Type="http://schemas.openxmlformats.org/officeDocument/2006/relationships/image" Target="../media/image65.png"/></Relationships>
</file>

<file path=ppt/slides/_rels/slide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hyperlink" Target="http://ai.stanford.edu/~jkrause/cars/car_dataset.html" TargetMode="External"/><Relationship Id="rId7"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67.png"/><Relationship Id="rId5" Type="http://schemas.openxmlformats.org/officeDocument/2006/relationships/hyperlink" Target="https://public.opendatasoft.com/explore/dataset/vehicules-commercialises" TargetMode="External"/><Relationship Id="rId4" Type="http://schemas.openxmlformats.org/officeDocument/2006/relationships/hyperlink" Target="https://storage.googleapis.com/openimages/web/download.html" TargetMode="External"/><Relationship Id="rId9" Type="http://schemas.openxmlformats.org/officeDocument/2006/relationships/image" Target="../media/image70.png"/></Relationships>
</file>

<file path=ppt/slides/_rels/slide9.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image" Target="../media/image71.png"/><Relationship Id="rId7" Type="http://schemas.openxmlformats.org/officeDocument/2006/relationships/image" Target="../media/image75.jp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2C09B-58B0-4950-B0DC-544ACD08771A}"/>
              </a:ext>
            </a:extLst>
          </p:cNvPr>
          <p:cNvSpPr>
            <a:spLocks noGrp="1"/>
          </p:cNvSpPr>
          <p:nvPr>
            <p:ph type="title"/>
          </p:nvPr>
        </p:nvSpPr>
        <p:spPr>
          <a:xfrm>
            <a:off x="609600" y="5049520"/>
            <a:ext cx="10972800" cy="538480"/>
          </a:xfrm>
        </p:spPr>
        <p:txBody>
          <a:bodyPr/>
          <a:lstStyle/>
          <a:p>
            <a:r>
              <a:rPr lang="fr-FR" sz="2800" b="1"/>
              <a:t>Hi!ckathon 2</a:t>
            </a:r>
          </a:p>
        </p:txBody>
      </p:sp>
    </p:spTree>
    <p:extLst>
      <p:ext uri="{BB962C8B-B14F-4D97-AF65-F5344CB8AC3E}">
        <p14:creationId xmlns:p14="http://schemas.microsoft.com/office/powerpoint/2010/main" val="281276650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2884172"/>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2509861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Métriqu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évaluation</a:t>
            </a:r>
            <a:endParaRPr lang="en-US" sz="2400" dirty="0">
              <a:latin typeface="Arial" panose="020B0604020202020204" pitchFamily="34" charset="0"/>
              <a:cs typeface="Arial" panose="020B0604020202020204" pitchFamily="34" charset="0"/>
            </a:endParaRPr>
          </a:p>
        </p:txBody>
      </p:sp>
      <p:grpSp>
        <p:nvGrpSpPr>
          <p:cNvPr id="54" name="Group 32">
            <a:extLst>
              <a:ext uri="{FF2B5EF4-FFF2-40B4-BE49-F238E27FC236}">
                <a16:creationId xmlns:a16="http://schemas.microsoft.com/office/drawing/2014/main" id="{2F03A70B-01BD-6144-A8FF-4DF2D2F619D3}"/>
              </a:ext>
            </a:extLst>
          </p:cNvPr>
          <p:cNvGrpSpPr/>
          <p:nvPr/>
        </p:nvGrpSpPr>
        <p:grpSpPr>
          <a:xfrm>
            <a:off x="7681734" y="1412592"/>
            <a:ext cx="3791429" cy="3237258"/>
            <a:chOff x="3783013" y="1633179"/>
            <a:chExt cx="3791429" cy="3237258"/>
          </a:xfrm>
        </p:grpSpPr>
        <p:sp>
          <p:nvSpPr>
            <p:cNvPr id="55" name="Freeform 26">
              <a:extLst>
                <a:ext uri="{FF2B5EF4-FFF2-40B4-BE49-F238E27FC236}">
                  <a16:creationId xmlns:a16="http://schemas.microsoft.com/office/drawing/2014/main" id="{A13CD86E-40A2-0546-9C53-90CAA7AFC92F}"/>
                </a:ext>
              </a:extLst>
            </p:cNvPr>
            <p:cNvSpPr>
              <a:spLocks/>
            </p:cNvSpPr>
            <p:nvPr/>
          </p:nvSpPr>
          <p:spPr bwMode="auto">
            <a:xfrm>
              <a:off x="3783013" y="2531414"/>
              <a:ext cx="3427128" cy="2339023"/>
            </a:xfrm>
            <a:custGeom>
              <a:avLst/>
              <a:gdLst>
                <a:gd name="T0" fmla="*/ 2015 w 2176"/>
                <a:gd name="T1" fmla="*/ 65 h 1473"/>
                <a:gd name="T2" fmla="*/ 1817 w 2176"/>
                <a:gd name="T3" fmla="*/ 280 h 1473"/>
                <a:gd name="T4" fmla="*/ 1777 w 2176"/>
                <a:gd name="T5" fmla="*/ 195 h 1473"/>
                <a:gd name="T6" fmla="*/ 1493 w 2176"/>
                <a:gd name="T7" fmla="*/ 6 h 1473"/>
                <a:gd name="T8" fmla="*/ 1101 w 2176"/>
                <a:gd name="T9" fmla="*/ 9 h 1473"/>
                <a:gd name="T10" fmla="*/ 1005 w 2176"/>
                <a:gd name="T11" fmla="*/ 32 h 1473"/>
                <a:gd name="T12" fmla="*/ 789 w 2176"/>
                <a:gd name="T13" fmla="*/ 383 h 1473"/>
                <a:gd name="T14" fmla="*/ 719 w 2176"/>
                <a:gd name="T15" fmla="*/ 460 h 1473"/>
                <a:gd name="T16" fmla="*/ 384 w 2176"/>
                <a:gd name="T17" fmla="*/ 489 h 1473"/>
                <a:gd name="T18" fmla="*/ 298 w 2176"/>
                <a:gd name="T19" fmla="*/ 412 h 1473"/>
                <a:gd name="T20" fmla="*/ 319 w 2176"/>
                <a:gd name="T21" fmla="*/ 297 h 1473"/>
                <a:gd name="T22" fmla="*/ 78 w 2176"/>
                <a:gd name="T23" fmla="*/ 92 h 1473"/>
                <a:gd name="T24" fmla="*/ 15 w 2176"/>
                <a:gd name="T25" fmla="*/ 90 h 1473"/>
                <a:gd name="T26" fmla="*/ 6 w 2176"/>
                <a:gd name="T27" fmla="*/ 146 h 1473"/>
                <a:gd name="T28" fmla="*/ 121 w 2176"/>
                <a:gd name="T29" fmla="*/ 438 h 1473"/>
                <a:gd name="T30" fmla="*/ 260 w 2176"/>
                <a:gd name="T31" fmla="*/ 444 h 1473"/>
                <a:gd name="T32" fmla="*/ 362 w 2176"/>
                <a:gd name="T33" fmla="*/ 528 h 1473"/>
                <a:gd name="T34" fmla="*/ 475 w 2176"/>
                <a:gd name="T35" fmla="*/ 647 h 1473"/>
                <a:gd name="T36" fmla="*/ 821 w 2176"/>
                <a:gd name="T37" fmla="*/ 623 h 1473"/>
                <a:gd name="T38" fmla="*/ 950 w 2176"/>
                <a:gd name="T39" fmla="*/ 507 h 1473"/>
                <a:gd name="T40" fmla="*/ 986 w 2176"/>
                <a:gd name="T41" fmla="*/ 330 h 1473"/>
                <a:gd name="T42" fmla="*/ 1014 w 2176"/>
                <a:gd name="T43" fmla="*/ 376 h 1473"/>
                <a:gd name="T44" fmla="*/ 1012 w 2176"/>
                <a:gd name="T45" fmla="*/ 1473 h 1473"/>
                <a:gd name="T46" fmla="*/ 1287 w 2176"/>
                <a:gd name="T47" fmla="*/ 1473 h 1473"/>
                <a:gd name="T48" fmla="*/ 1288 w 2176"/>
                <a:gd name="T49" fmla="*/ 1014 h 1473"/>
                <a:gd name="T50" fmla="*/ 1314 w 2176"/>
                <a:gd name="T51" fmla="*/ 951 h 1473"/>
                <a:gd name="T52" fmla="*/ 1343 w 2176"/>
                <a:gd name="T53" fmla="*/ 1012 h 1473"/>
                <a:gd name="T54" fmla="*/ 1344 w 2176"/>
                <a:gd name="T55" fmla="*/ 1235 h 1473"/>
                <a:gd name="T56" fmla="*/ 1617 w 2176"/>
                <a:gd name="T57" fmla="*/ 1235 h 1473"/>
                <a:gd name="T58" fmla="*/ 1617 w 2176"/>
                <a:gd name="T59" fmla="*/ 323 h 1473"/>
                <a:gd name="T60" fmla="*/ 1675 w 2176"/>
                <a:gd name="T61" fmla="*/ 461 h 1473"/>
                <a:gd name="T62" fmla="*/ 1742 w 2176"/>
                <a:gd name="T63" fmla="*/ 558 h 1473"/>
                <a:gd name="T64" fmla="*/ 1901 w 2176"/>
                <a:gd name="T65" fmla="*/ 464 h 1473"/>
                <a:gd name="T66" fmla="*/ 2116 w 2176"/>
                <a:gd name="T67" fmla="*/ 217 h 1473"/>
                <a:gd name="T68" fmla="*/ 2176 w 2176"/>
                <a:gd name="T69" fmla="*/ 142 h 1473"/>
                <a:gd name="T70" fmla="*/ 2015 w 2176"/>
                <a:gd name="T71" fmla="*/ 65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76" h="1473">
                  <a:moveTo>
                    <a:pt x="2015" y="65"/>
                  </a:moveTo>
                  <a:cubicBezTo>
                    <a:pt x="1950" y="135"/>
                    <a:pt x="1886" y="205"/>
                    <a:pt x="1817" y="280"/>
                  </a:cubicBezTo>
                  <a:cubicBezTo>
                    <a:pt x="1801" y="246"/>
                    <a:pt x="1789" y="220"/>
                    <a:pt x="1777" y="195"/>
                  </a:cubicBezTo>
                  <a:cubicBezTo>
                    <a:pt x="1718" y="79"/>
                    <a:pt x="1636" y="0"/>
                    <a:pt x="1493" y="6"/>
                  </a:cubicBezTo>
                  <a:cubicBezTo>
                    <a:pt x="1362" y="12"/>
                    <a:pt x="1231" y="6"/>
                    <a:pt x="1101" y="9"/>
                  </a:cubicBezTo>
                  <a:cubicBezTo>
                    <a:pt x="1068" y="9"/>
                    <a:pt x="1034" y="18"/>
                    <a:pt x="1005" y="32"/>
                  </a:cubicBezTo>
                  <a:cubicBezTo>
                    <a:pt x="860" y="103"/>
                    <a:pt x="821" y="243"/>
                    <a:pt x="789" y="383"/>
                  </a:cubicBezTo>
                  <a:cubicBezTo>
                    <a:pt x="779" y="429"/>
                    <a:pt x="763" y="455"/>
                    <a:pt x="719" y="460"/>
                  </a:cubicBezTo>
                  <a:cubicBezTo>
                    <a:pt x="636" y="469"/>
                    <a:pt x="398" y="464"/>
                    <a:pt x="384" y="489"/>
                  </a:cubicBezTo>
                  <a:cubicBezTo>
                    <a:pt x="339" y="456"/>
                    <a:pt x="337" y="455"/>
                    <a:pt x="298" y="412"/>
                  </a:cubicBezTo>
                  <a:cubicBezTo>
                    <a:pt x="308" y="363"/>
                    <a:pt x="333" y="311"/>
                    <a:pt x="319" y="297"/>
                  </a:cubicBezTo>
                  <a:cubicBezTo>
                    <a:pt x="244" y="223"/>
                    <a:pt x="161" y="157"/>
                    <a:pt x="78" y="92"/>
                  </a:cubicBezTo>
                  <a:cubicBezTo>
                    <a:pt x="64" y="81"/>
                    <a:pt x="31" y="81"/>
                    <a:pt x="15" y="90"/>
                  </a:cubicBezTo>
                  <a:cubicBezTo>
                    <a:pt x="4" y="96"/>
                    <a:pt x="0" y="129"/>
                    <a:pt x="6" y="146"/>
                  </a:cubicBezTo>
                  <a:cubicBezTo>
                    <a:pt x="39" y="242"/>
                    <a:pt x="81" y="345"/>
                    <a:pt x="121" y="438"/>
                  </a:cubicBezTo>
                  <a:cubicBezTo>
                    <a:pt x="127" y="453"/>
                    <a:pt x="257" y="443"/>
                    <a:pt x="260" y="444"/>
                  </a:cubicBezTo>
                  <a:cubicBezTo>
                    <a:pt x="275" y="448"/>
                    <a:pt x="330" y="505"/>
                    <a:pt x="362" y="528"/>
                  </a:cubicBezTo>
                  <a:cubicBezTo>
                    <a:pt x="362" y="656"/>
                    <a:pt x="429" y="646"/>
                    <a:pt x="475" y="647"/>
                  </a:cubicBezTo>
                  <a:cubicBezTo>
                    <a:pt x="579" y="652"/>
                    <a:pt x="761" y="632"/>
                    <a:pt x="821" y="623"/>
                  </a:cubicBezTo>
                  <a:cubicBezTo>
                    <a:pt x="899" y="612"/>
                    <a:pt x="940" y="586"/>
                    <a:pt x="950" y="507"/>
                  </a:cubicBezTo>
                  <a:cubicBezTo>
                    <a:pt x="958" y="447"/>
                    <a:pt x="973" y="389"/>
                    <a:pt x="986" y="330"/>
                  </a:cubicBezTo>
                  <a:cubicBezTo>
                    <a:pt x="1007" y="345"/>
                    <a:pt x="1014" y="361"/>
                    <a:pt x="1014" y="376"/>
                  </a:cubicBezTo>
                  <a:cubicBezTo>
                    <a:pt x="1013" y="667"/>
                    <a:pt x="1012" y="1182"/>
                    <a:pt x="1012" y="1473"/>
                  </a:cubicBezTo>
                  <a:cubicBezTo>
                    <a:pt x="1287" y="1473"/>
                    <a:pt x="1287" y="1473"/>
                    <a:pt x="1287" y="1473"/>
                  </a:cubicBezTo>
                  <a:cubicBezTo>
                    <a:pt x="1286" y="1394"/>
                    <a:pt x="1287" y="1093"/>
                    <a:pt x="1288" y="1014"/>
                  </a:cubicBezTo>
                  <a:cubicBezTo>
                    <a:pt x="1289" y="993"/>
                    <a:pt x="1305" y="972"/>
                    <a:pt x="1314" y="951"/>
                  </a:cubicBezTo>
                  <a:cubicBezTo>
                    <a:pt x="1324" y="972"/>
                    <a:pt x="1341" y="991"/>
                    <a:pt x="1343" y="1012"/>
                  </a:cubicBezTo>
                  <a:cubicBezTo>
                    <a:pt x="1346" y="1071"/>
                    <a:pt x="1344" y="1175"/>
                    <a:pt x="1344" y="1235"/>
                  </a:cubicBezTo>
                  <a:cubicBezTo>
                    <a:pt x="1438" y="1235"/>
                    <a:pt x="1523" y="1235"/>
                    <a:pt x="1617" y="1235"/>
                  </a:cubicBezTo>
                  <a:cubicBezTo>
                    <a:pt x="1617" y="942"/>
                    <a:pt x="1617" y="610"/>
                    <a:pt x="1617" y="323"/>
                  </a:cubicBezTo>
                  <a:cubicBezTo>
                    <a:pt x="1646" y="368"/>
                    <a:pt x="1655" y="417"/>
                    <a:pt x="1675" y="461"/>
                  </a:cubicBezTo>
                  <a:cubicBezTo>
                    <a:pt x="1691" y="498"/>
                    <a:pt x="1715" y="554"/>
                    <a:pt x="1742" y="558"/>
                  </a:cubicBezTo>
                  <a:cubicBezTo>
                    <a:pt x="1778" y="564"/>
                    <a:pt x="1872" y="494"/>
                    <a:pt x="1901" y="464"/>
                  </a:cubicBezTo>
                  <a:cubicBezTo>
                    <a:pt x="1991" y="372"/>
                    <a:pt x="2032" y="315"/>
                    <a:pt x="2116" y="217"/>
                  </a:cubicBezTo>
                  <a:cubicBezTo>
                    <a:pt x="2136" y="195"/>
                    <a:pt x="2153" y="171"/>
                    <a:pt x="2176" y="142"/>
                  </a:cubicBezTo>
                  <a:cubicBezTo>
                    <a:pt x="2117" y="114"/>
                    <a:pt x="2068" y="90"/>
                    <a:pt x="2015" y="65"/>
                  </a:cubicBezTo>
                  <a:close/>
                </a:path>
              </a:pathLst>
            </a:custGeom>
            <a:solidFill>
              <a:srgbClr val="282F3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sp>
          <p:nvSpPr>
            <p:cNvPr id="56" name="Oval 29">
              <a:extLst>
                <a:ext uri="{FF2B5EF4-FFF2-40B4-BE49-F238E27FC236}">
                  <a16:creationId xmlns:a16="http://schemas.microsoft.com/office/drawing/2014/main" id="{F2E939A1-CB73-9940-9567-C0BB16309B2D}"/>
                </a:ext>
              </a:extLst>
            </p:cNvPr>
            <p:cNvSpPr/>
            <p:nvPr/>
          </p:nvSpPr>
          <p:spPr>
            <a:xfrm>
              <a:off x="5440076" y="1633179"/>
              <a:ext cx="803743" cy="803743"/>
            </a:xfrm>
            <a:prstGeom prst="ellipse">
              <a:avLst/>
            </a:prstGeom>
            <a:solidFill>
              <a:srgbClr val="282F3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62977604-BA47-FC4B-BDEF-7BC0FC1422C4}"/>
                </a:ext>
              </a:extLst>
            </p:cNvPr>
            <p:cNvSpPr/>
            <p:nvPr/>
          </p:nvSpPr>
          <p:spPr>
            <a:xfrm rot="1529257">
              <a:off x="6797802" y="2375176"/>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58" name="Group 34">
            <a:extLst>
              <a:ext uri="{FF2B5EF4-FFF2-40B4-BE49-F238E27FC236}">
                <a16:creationId xmlns:a16="http://schemas.microsoft.com/office/drawing/2014/main" id="{031D2DE3-90CC-AA4A-8E3C-9AD678CE0A86}"/>
              </a:ext>
            </a:extLst>
          </p:cNvPr>
          <p:cNvGrpSpPr/>
          <p:nvPr/>
        </p:nvGrpSpPr>
        <p:grpSpPr>
          <a:xfrm>
            <a:off x="7715192" y="3597108"/>
            <a:ext cx="4242862" cy="2232447"/>
            <a:chOff x="3920888" y="3793179"/>
            <a:chExt cx="4242862" cy="2232447"/>
          </a:xfrm>
        </p:grpSpPr>
        <p:sp>
          <p:nvSpPr>
            <p:cNvPr id="59" name="Rectangle 58">
              <a:extLst>
                <a:ext uri="{FF2B5EF4-FFF2-40B4-BE49-F238E27FC236}">
                  <a16:creationId xmlns:a16="http://schemas.microsoft.com/office/drawing/2014/main" id="{1C49DFB2-61E3-2144-9E43-48F6B71285DD}"/>
                </a:ext>
              </a:extLst>
            </p:cNvPr>
            <p:cNvSpPr/>
            <p:nvPr/>
          </p:nvSpPr>
          <p:spPr>
            <a:xfrm>
              <a:off x="7387110"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FE215129-A0F4-8C4B-A0E5-4E174B5C0173}"/>
                </a:ext>
              </a:extLst>
            </p:cNvPr>
            <p:cNvSpPr/>
            <p:nvPr/>
          </p:nvSpPr>
          <p:spPr>
            <a:xfrm>
              <a:off x="6519009"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B5E47AE8-4D7C-EC49-B264-963E06735131}"/>
                </a:ext>
              </a:extLst>
            </p:cNvPr>
            <p:cNvSpPr/>
            <p:nvPr/>
          </p:nvSpPr>
          <p:spPr>
            <a:xfrm>
              <a:off x="5651280"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6F349D10-AB12-5642-85B3-01488D0ADCE1}"/>
                </a:ext>
              </a:extLst>
            </p:cNvPr>
            <p:cNvSpPr/>
            <p:nvPr/>
          </p:nvSpPr>
          <p:spPr>
            <a:xfrm>
              <a:off x="4783179"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0F9EB6D4-390D-CB42-8AA7-2A6A23A38C66}"/>
                </a:ext>
              </a:extLst>
            </p:cNvPr>
            <p:cNvSpPr/>
            <p:nvPr/>
          </p:nvSpPr>
          <p:spPr>
            <a:xfrm>
              <a:off x="3920888" y="572326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86999535-B184-A644-B86B-18CCA40D6E9A}"/>
                </a:ext>
              </a:extLst>
            </p:cNvPr>
            <p:cNvSpPr/>
            <p:nvPr/>
          </p:nvSpPr>
          <p:spPr>
            <a:xfrm>
              <a:off x="7820307" y="5334642"/>
              <a:ext cx="343443"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DF117817-7CF4-6542-84D5-401BB43A8939}"/>
                </a:ext>
              </a:extLst>
            </p:cNvPr>
            <p:cNvSpPr/>
            <p:nvPr/>
          </p:nvSpPr>
          <p:spPr>
            <a:xfrm>
              <a:off x="6952206"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5E89ADB8-EAF3-154F-B31D-E3CE5B6BA658}"/>
                </a:ext>
              </a:extLst>
            </p:cNvPr>
            <p:cNvSpPr/>
            <p:nvPr/>
          </p:nvSpPr>
          <p:spPr>
            <a:xfrm>
              <a:off x="6084477"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0E06DD33-AFCC-9F46-A956-36D7F42BF035}"/>
                </a:ext>
              </a:extLst>
            </p:cNvPr>
            <p:cNvSpPr/>
            <p:nvPr/>
          </p:nvSpPr>
          <p:spPr>
            <a:xfrm>
              <a:off x="5216376"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6621739B-D732-014A-8083-DAA023004752}"/>
                </a:ext>
              </a:extLst>
            </p:cNvPr>
            <p:cNvSpPr/>
            <p:nvPr/>
          </p:nvSpPr>
          <p:spPr>
            <a:xfrm>
              <a:off x="4354085" y="5334642"/>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3618C521-A966-834D-9CA2-BFC9D37FC910}"/>
                </a:ext>
              </a:extLst>
            </p:cNvPr>
            <p:cNvSpPr/>
            <p:nvPr/>
          </p:nvSpPr>
          <p:spPr>
            <a:xfrm>
              <a:off x="7387110"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BA0BE69F-3E6D-354F-86DE-27E469763CF0}"/>
                </a:ext>
              </a:extLst>
            </p:cNvPr>
            <p:cNvSpPr/>
            <p:nvPr/>
          </p:nvSpPr>
          <p:spPr>
            <a:xfrm>
              <a:off x="6519009"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38ADC72E-AF37-5147-8D1A-F8F38BF5D4E3}"/>
                </a:ext>
              </a:extLst>
            </p:cNvPr>
            <p:cNvSpPr/>
            <p:nvPr/>
          </p:nvSpPr>
          <p:spPr>
            <a:xfrm>
              <a:off x="5651280"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5B1A43C5-2A85-904A-A9AB-C97F82726A11}"/>
                </a:ext>
              </a:extLst>
            </p:cNvPr>
            <p:cNvSpPr/>
            <p:nvPr/>
          </p:nvSpPr>
          <p:spPr>
            <a:xfrm>
              <a:off x="4783179" y="4946973"/>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9E8784CE-2E7B-B34D-98FE-10E2AEFA7A34}"/>
                </a:ext>
              </a:extLst>
            </p:cNvPr>
            <p:cNvSpPr/>
            <p:nvPr/>
          </p:nvSpPr>
          <p:spPr>
            <a:xfrm>
              <a:off x="7820307" y="4567879"/>
              <a:ext cx="343443"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795843F1-A098-4E4A-9584-746E31A9869B}"/>
                </a:ext>
              </a:extLst>
            </p:cNvPr>
            <p:cNvSpPr/>
            <p:nvPr/>
          </p:nvSpPr>
          <p:spPr>
            <a:xfrm>
              <a:off x="6952206" y="4567879"/>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48841C01-CEE5-0F42-8168-9DF211265E0D}"/>
                </a:ext>
              </a:extLst>
            </p:cNvPr>
            <p:cNvSpPr/>
            <p:nvPr/>
          </p:nvSpPr>
          <p:spPr>
            <a:xfrm>
              <a:off x="6084477" y="4567879"/>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B61EA7B9-1713-3B4A-BDE7-7DE56E8C5127}"/>
                </a:ext>
              </a:extLst>
            </p:cNvPr>
            <p:cNvSpPr/>
            <p:nvPr/>
          </p:nvSpPr>
          <p:spPr>
            <a:xfrm>
              <a:off x="7387110" y="4170686"/>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DF47B177-99A4-8543-97AB-C1D1BA69F80C}"/>
                </a:ext>
              </a:extLst>
            </p:cNvPr>
            <p:cNvSpPr/>
            <p:nvPr/>
          </p:nvSpPr>
          <p:spPr>
            <a:xfrm>
              <a:off x="6519009" y="4170686"/>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4EE59EBC-07B8-6548-A824-28B16B9E2404}"/>
                </a:ext>
              </a:extLst>
            </p:cNvPr>
            <p:cNvSpPr/>
            <p:nvPr/>
          </p:nvSpPr>
          <p:spPr>
            <a:xfrm>
              <a:off x="7820307" y="3793179"/>
              <a:ext cx="343443"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C2A5384A-2999-6448-841B-1B25C4F2CD48}"/>
                </a:ext>
              </a:extLst>
            </p:cNvPr>
            <p:cNvSpPr/>
            <p:nvPr/>
          </p:nvSpPr>
          <p:spPr>
            <a:xfrm>
              <a:off x="6952206" y="3793179"/>
              <a:ext cx="776640" cy="302364"/>
            </a:xfrm>
            <a:prstGeom prst="rect">
              <a:avLst/>
            </a:prstGeom>
            <a:solidFill>
              <a:srgbClr val="074D67"/>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80" name="TextBox 63">
            <a:extLst>
              <a:ext uri="{FF2B5EF4-FFF2-40B4-BE49-F238E27FC236}">
                <a16:creationId xmlns:a16="http://schemas.microsoft.com/office/drawing/2014/main" id="{BABDD72D-A7F4-8C42-AC59-CA1B0AE4D7E2}"/>
              </a:ext>
            </a:extLst>
          </p:cNvPr>
          <p:cNvSpPr txBox="1"/>
          <p:nvPr/>
        </p:nvSpPr>
        <p:spPr>
          <a:xfrm>
            <a:off x="643764" y="2977450"/>
            <a:ext cx="1177107" cy="830997"/>
          </a:xfrm>
          <a:prstGeom prst="rect">
            <a:avLst/>
          </a:prstGeom>
          <a:noFill/>
        </p:spPr>
        <p:txBody>
          <a:bodyPr wrap="square" rtlCol="0">
            <a:spAutoFit/>
          </a:bodyPr>
          <a:lstStyle/>
          <a:p>
            <a:pPr algn="ctr">
              <a:defRPr/>
            </a:pPr>
            <a:r>
              <a:rPr lang="ru-RU" sz="4800" b="1" dirty="0">
                <a:solidFill>
                  <a:srgbClr val="002060"/>
                </a:solidFill>
                <a:latin typeface="Open Sans" panose="020B0606030504020204" pitchFamily="34" charset="0"/>
              </a:rPr>
              <a:t>01</a:t>
            </a:r>
            <a:endParaRPr lang="en-GB" sz="6500" b="1" dirty="0">
              <a:solidFill>
                <a:srgbClr val="002060"/>
              </a:solidFill>
              <a:latin typeface="Noto Sans" panose="020B0502040504020204" pitchFamily="34"/>
              <a:ea typeface="Noto Sans" panose="020B0502040504020204" pitchFamily="34"/>
              <a:cs typeface="Noto Sans" panose="020B0502040504020204" pitchFamily="34"/>
            </a:endParaRPr>
          </a:p>
        </p:txBody>
      </p:sp>
      <p:sp>
        <p:nvSpPr>
          <p:cNvPr id="81" name="TextBox 64">
            <a:extLst>
              <a:ext uri="{FF2B5EF4-FFF2-40B4-BE49-F238E27FC236}">
                <a16:creationId xmlns:a16="http://schemas.microsoft.com/office/drawing/2014/main" id="{F1B1CC8E-D943-F143-94C0-8C7831236F65}"/>
              </a:ext>
            </a:extLst>
          </p:cNvPr>
          <p:cNvSpPr txBox="1"/>
          <p:nvPr/>
        </p:nvSpPr>
        <p:spPr>
          <a:xfrm>
            <a:off x="643764" y="3770653"/>
            <a:ext cx="1177107" cy="830997"/>
          </a:xfrm>
          <a:prstGeom prst="rect">
            <a:avLst/>
          </a:prstGeom>
          <a:noFill/>
        </p:spPr>
        <p:txBody>
          <a:bodyPr wrap="square" rtlCol="0">
            <a:spAutoFit/>
          </a:bodyPr>
          <a:lstStyle/>
          <a:p>
            <a:pPr algn="ctr">
              <a:defRPr/>
            </a:pPr>
            <a:r>
              <a:rPr lang="ru-RU" sz="4800" b="1" dirty="0">
                <a:solidFill>
                  <a:srgbClr val="CB1B4A"/>
                </a:solidFill>
                <a:latin typeface="Open Sans" panose="020B0606030504020204" pitchFamily="34" charset="0"/>
              </a:rPr>
              <a:t>0</a:t>
            </a:r>
            <a:r>
              <a:rPr lang="en-US" sz="4800" b="1" dirty="0">
                <a:solidFill>
                  <a:srgbClr val="CB1B4A"/>
                </a:solidFill>
                <a:latin typeface="Open Sans" panose="020B0606030504020204" pitchFamily="34" charset="0"/>
              </a:rPr>
              <a:t>2</a:t>
            </a:r>
            <a:endParaRPr lang="en-GB" sz="4800" b="1" dirty="0">
              <a:solidFill>
                <a:srgbClr val="CB1B4A"/>
              </a:solidFill>
              <a:latin typeface="Noto Sans" panose="020B0502040504020204" pitchFamily="34"/>
              <a:ea typeface="Noto Sans" panose="020B0502040504020204" pitchFamily="34"/>
              <a:cs typeface="Noto Sans" panose="020B0502040504020204" pitchFamily="34"/>
            </a:endParaRPr>
          </a:p>
        </p:txBody>
      </p:sp>
      <mc:AlternateContent xmlns:mc="http://schemas.openxmlformats.org/markup-compatibility/2006" xmlns:a14="http://schemas.microsoft.com/office/drawing/2010/main">
        <mc:Choice Requires="a14">
          <p:sp>
            <p:nvSpPr>
              <p:cNvPr id="87" name="ZoneTexte 86">
                <a:extLst>
                  <a:ext uri="{FF2B5EF4-FFF2-40B4-BE49-F238E27FC236}">
                    <a16:creationId xmlns:a16="http://schemas.microsoft.com/office/drawing/2014/main" id="{A55EB7C0-7065-534E-A08A-0DAD449CAF66}"/>
                  </a:ext>
                </a:extLst>
              </p:cNvPr>
              <p:cNvSpPr txBox="1"/>
              <p:nvPr/>
            </p:nvSpPr>
            <p:spPr>
              <a:xfrm>
                <a:off x="1860690" y="2984222"/>
                <a:ext cx="3838349" cy="78463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600" i="1" smtClean="0">
                          <a:latin typeface="Cambria Math" panose="02040503050406030204" pitchFamily="18" charset="0"/>
                        </a:rPr>
                        <m:t>𝐸𝑟𝑟𝑒𝑢</m:t>
                      </m:r>
                      <m:sSub>
                        <m:sSubPr>
                          <m:ctrlPr>
                            <a:rPr lang="fr-FR" sz="1600" i="1">
                              <a:solidFill>
                                <a:srgbClr val="836967"/>
                              </a:solidFill>
                              <a:latin typeface="Cambria Math" panose="02040503050406030204" pitchFamily="18" charset="0"/>
                            </a:rPr>
                          </m:ctrlPr>
                        </m:sSubPr>
                        <m:e>
                          <m:r>
                            <a:rPr lang="fr-FR" sz="1600" i="1">
                              <a:latin typeface="Cambria Math" panose="02040503050406030204" pitchFamily="18" charset="0"/>
                            </a:rPr>
                            <m:t>𝑟</m:t>
                          </m:r>
                        </m:e>
                        <m:sub>
                          <m:r>
                            <a:rPr lang="fr-FR" sz="1600" i="1">
                              <a:latin typeface="Cambria Math" panose="02040503050406030204" pitchFamily="18" charset="0"/>
                            </a:rPr>
                            <m:t>𝑙𝑜𝑐</m:t>
                          </m:r>
                        </m:sub>
                      </m:sSub>
                      <m:r>
                        <a:rPr lang="fr-FR" sz="1600" i="0">
                          <a:latin typeface="Cambria Math" panose="02040503050406030204" pitchFamily="18" charset="0"/>
                        </a:rPr>
                        <m:t>=</m:t>
                      </m:r>
                      <m:f>
                        <m:fPr>
                          <m:ctrlPr>
                            <a:rPr lang="fr-FR" sz="1600" i="1">
                              <a:solidFill>
                                <a:srgbClr val="836967"/>
                              </a:solidFill>
                              <a:latin typeface="Cambria Math" panose="02040503050406030204" pitchFamily="18" charset="0"/>
                            </a:rPr>
                          </m:ctrlPr>
                        </m:fPr>
                        <m:num>
                          <m:r>
                            <a:rPr lang="fr-FR" sz="1600" i="0">
                              <a:latin typeface="Cambria Math" panose="02040503050406030204" pitchFamily="18" charset="0"/>
                            </a:rPr>
                            <m:t>1</m:t>
                          </m:r>
                        </m:num>
                        <m:den>
                          <m:r>
                            <a:rPr lang="fr-FR" sz="1600" i="1">
                              <a:latin typeface="Cambria Math" panose="02040503050406030204" pitchFamily="18" charset="0"/>
                            </a:rPr>
                            <m:t>𝑁</m:t>
                          </m:r>
                        </m:den>
                      </m:f>
                      <m:nary>
                        <m:naryPr>
                          <m:chr m:val="∑"/>
                          <m:limLoc m:val="undOvr"/>
                          <m:ctrlPr>
                            <a:rPr lang="fr-FR" sz="1600" i="1">
                              <a:latin typeface="Cambria Math" panose="02040503050406030204" pitchFamily="18" charset="0"/>
                            </a:rPr>
                          </m:ctrlPr>
                        </m:naryPr>
                        <m:sub>
                          <m:r>
                            <a:rPr lang="fr-FR" sz="1600" i="1">
                              <a:latin typeface="Cambria Math" panose="02040503050406030204" pitchFamily="18" charset="0"/>
                            </a:rPr>
                            <m:t>𝑖</m:t>
                          </m:r>
                          <m:r>
                            <a:rPr lang="fr-FR" sz="1600" i="0">
                              <a:latin typeface="Cambria Math" panose="02040503050406030204" pitchFamily="18" charset="0"/>
                            </a:rPr>
                            <m:t>=1</m:t>
                          </m:r>
                        </m:sub>
                        <m:sup>
                          <m:r>
                            <a:rPr lang="fr-FR" sz="1600" i="1">
                              <a:latin typeface="Cambria Math" panose="02040503050406030204" pitchFamily="18" charset="0"/>
                            </a:rPr>
                            <m:t>𝑁</m:t>
                          </m:r>
                        </m:sup>
                        <m:e>
                          <m:d>
                            <m:dPr>
                              <m:ctrlPr>
                                <a:rPr lang="fr-FR" sz="1600" i="1">
                                  <a:latin typeface="Cambria Math" panose="02040503050406030204" pitchFamily="18" charset="0"/>
                                </a:rPr>
                              </m:ctrlPr>
                            </m:dPr>
                            <m:e>
                              <m:r>
                                <a:rPr lang="fr-FR" sz="1600" i="0">
                                  <a:latin typeface="Cambria Math" panose="02040503050406030204" pitchFamily="18" charset="0"/>
                                </a:rPr>
                                <m:t>1−</m:t>
                              </m:r>
                              <m:r>
                                <a:rPr lang="fr-FR" sz="1600" i="1">
                                  <a:latin typeface="Cambria Math" panose="02040503050406030204" pitchFamily="18" charset="0"/>
                                </a:rPr>
                                <m:t>𝐼𝑜</m:t>
                              </m:r>
                              <m:sSubSup>
                                <m:sSubSupPr>
                                  <m:ctrlPr>
                                    <a:rPr lang="fr-FR" sz="1600" i="1" smtClean="0">
                                      <a:solidFill>
                                        <a:srgbClr val="836967"/>
                                      </a:solidFill>
                                      <a:latin typeface="Cambria Math" panose="02040503050406030204" pitchFamily="18" charset="0"/>
                                    </a:rPr>
                                  </m:ctrlPr>
                                </m:sSubSupPr>
                                <m:e>
                                  <m:r>
                                    <a:rPr lang="fr-FR" sz="1600" i="1">
                                      <a:latin typeface="Cambria Math" panose="02040503050406030204" pitchFamily="18" charset="0"/>
                                    </a:rPr>
                                    <m:t>𝑈</m:t>
                                  </m:r>
                                </m:e>
                                <m:sub>
                                  <m:r>
                                    <a:rPr lang="fr-FR" sz="1600" i="1">
                                      <a:latin typeface="Cambria Math" panose="02040503050406030204" pitchFamily="18" charset="0"/>
                                    </a:rPr>
                                    <m:t>𝑖</m:t>
                                  </m:r>
                                </m:sub>
                                <m:sup>
                                  <m:r>
                                    <a:rPr lang="fr-FR" sz="1600" b="0" i="1" smtClean="0">
                                      <a:latin typeface="Cambria Math" panose="02040503050406030204" pitchFamily="18" charset="0"/>
                                    </a:rPr>
                                    <m:t> </m:t>
                                  </m:r>
                                </m:sup>
                              </m:sSubSup>
                            </m:e>
                          </m:d>
                        </m:e>
                      </m:nary>
                      <m:r>
                        <a:rPr lang="fr-FR" sz="1600" b="0" i="1" smtClean="0">
                          <a:latin typeface="Cambria Math" panose="02040503050406030204" pitchFamily="18" charset="0"/>
                        </a:rPr>
                        <m:t>, </m:t>
                      </m:r>
                      <m:r>
                        <a:rPr lang="fr-FR" sz="1600" b="0" i="1" smtClean="0">
                          <a:latin typeface="Cambria Math" panose="02040503050406030204" pitchFamily="18" charset="0"/>
                        </a:rPr>
                        <m:t>𝑎𝑣𝑒𝑐</m:t>
                      </m:r>
                      <m:r>
                        <a:rPr lang="fr-FR" sz="1600" b="0" i="1" smtClean="0">
                          <a:latin typeface="Cambria Math" panose="02040503050406030204" pitchFamily="18" charset="0"/>
                        </a:rPr>
                        <m:t> </m:t>
                      </m:r>
                      <m:r>
                        <a:rPr lang="fr-FR" sz="1600" i="1">
                          <a:latin typeface="Cambria Math" panose="02040503050406030204" pitchFamily="18" charset="0"/>
                        </a:rPr>
                        <m:t>𝐼𝑜</m:t>
                      </m:r>
                      <m:sSubSup>
                        <m:sSubSupPr>
                          <m:ctrlPr>
                            <a:rPr lang="fr-FR" sz="1600" i="1">
                              <a:solidFill>
                                <a:srgbClr val="836967"/>
                              </a:solidFill>
                              <a:latin typeface="Cambria Math" panose="02040503050406030204" pitchFamily="18" charset="0"/>
                            </a:rPr>
                          </m:ctrlPr>
                        </m:sSubSupPr>
                        <m:e>
                          <m:r>
                            <a:rPr lang="fr-FR" sz="1600" i="1">
                              <a:latin typeface="Cambria Math" panose="02040503050406030204" pitchFamily="18" charset="0"/>
                            </a:rPr>
                            <m:t>𝑈</m:t>
                          </m:r>
                        </m:e>
                        <m:sub>
                          <m:r>
                            <a:rPr lang="fr-FR" sz="1600" i="1">
                              <a:latin typeface="Cambria Math" panose="02040503050406030204" pitchFamily="18" charset="0"/>
                            </a:rPr>
                            <m:t>𝑖</m:t>
                          </m:r>
                        </m:sub>
                        <m:sup>
                          <m:r>
                            <a:rPr lang="fr-FR" sz="1600" i="1">
                              <a:latin typeface="Cambria Math" panose="02040503050406030204" pitchFamily="18" charset="0"/>
                            </a:rPr>
                            <m:t> </m:t>
                          </m:r>
                        </m:sup>
                      </m:sSubSup>
                      <m:r>
                        <a:rPr lang="fr-FR" sz="1600" b="0" i="1" smtClean="0">
                          <a:latin typeface="Cambria Math" panose="02040503050406030204" pitchFamily="18" charset="0"/>
                        </a:rPr>
                        <m:t>=</m:t>
                      </m:r>
                    </m:oMath>
                  </m:oMathPara>
                </a14:m>
                <a:endParaRPr lang="fr-FR" sz="1600" dirty="0"/>
              </a:p>
            </p:txBody>
          </p:sp>
        </mc:Choice>
        <mc:Fallback xmlns="">
          <p:sp>
            <p:nvSpPr>
              <p:cNvPr id="87" name="ZoneTexte 86">
                <a:extLst>
                  <a:ext uri="{FF2B5EF4-FFF2-40B4-BE49-F238E27FC236}">
                    <a16:creationId xmlns:a16="http://schemas.microsoft.com/office/drawing/2014/main" id="{A55EB7C0-7065-534E-A08A-0DAD449CAF66}"/>
                  </a:ext>
                </a:extLst>
              </p:cNvPr>
              <p:cNvSpPr txBox="1">
                <a:spLocks noRot="1" noChangeAspect="1" noMove="1" noResize="1" noEditPoints="1" noAdjustHandles="1" noChangeArrowheads="1" noChangeShapeType="1" noTextEdit="1"/>
              </p:cNvSpPr>
              <p:nvPr/>
            </p:nvSpPr>
            <p:spPr>
              <a:xfrm>
                <a:off x="1860690" y="2984222"/>
                <a:ext cx="3838349" cy="784638"/>
              </a:xfrm>
              <a:prstGeom prst="rect">
                <a:avLst/>
              </a:prstGeom>
              <a:blipFill>
                <a:blip r:embed="rId3"/>
                <a:stretch>
                  <a:fillRect t="-98387" b="-153226"/>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88" name="ZoneTexte 87">
                <a:extLst>
                  <a:ext uri="{FF2B5EF4-FFF2-40B4-BE49-F238E27FC236}">
                    <a16:creationId xmlns:a16="http://schemas.microsoft.com/office/drawing/2014/main" id="{40980480-8FAA-E04C-B45C-AD19FAEF5F3F}"/>
                  </a:ext>
                </a:extLst>
              </p:cNvPr>
              <p:cNvSpPr txBox="1"/>
              <p:nvPr/>
            </p:nvSpPr>
            <p:spPr>
              <a:xfrm>
                <a:off x="1860690" y="3768726"/>
                <a:ext cx="3518421" cy="78463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600" i="1" smtClean="0">
                          <a:latin typeface="Cambria Math" panose="02040503050406030204" pitchFamily="18" charset="0"/>
                        </a:rPr>
                        <m:t>𝑀𝐴𝑃𝐸</m:t>
                      </m:r>
                      <m:r>
                        <a:rPr lang="fr-FR" sz="1600" i="0">
                          <a:latin typeface="Cambria Math" panose="02040503050406030204" pitchFamily="18" charset="0"/>
                        </a:rPr>
                        <m:t> = </m:t>
                      </m:r>
                      <m:f>
                        <m:fPr>
                          <m:ctrlPr>
                            <a:rPr lang="fr-FR" sz="1600" i="1">
                              <a:solidFill>
                                <a:srgbClr val="836967"/>
                              </a:solidFill>
                              <a:latin typeface="Cambria Math" panose="02040503050406030204" pitchFamily="18" charset="0"/>
                            </a:rPr>
                          </m:ctrlPr>
                        </m:fPr>
                        <m:num>
                          <m:r>
                            <a:rPr lang="fr-FR" sz="1600" i="0">
                              <a:latin typeface="Cambria Math" panose="02040503050406030204" pitchFamily="18" charset="0"/>
                            </a:rPr>
                            <m:t>1</m:t>
                          </m:r>
                        </m:num>
                        <m:den>
                          <m:r>
                            <a:rPr lang="fr-FR" sz="1600" i="1">
                              <a:latin typeface="Cambria Math" panose="02040503050406030204" pitchFamily="18" charset="0"/>
                            </a:rPr>
                            <m:t>𝑁</m:t>
                          </m:r>
                        </m:den>
                      </m:f>
                      <m:nary>
                        <m:naryPr>
                          <m:chr m:val="∑"/>
                          <m:limLoc m:val="undOvr"/>
                          <m:ctrlPr>
                            <a:rPr lang="fr-FR" sz="1600" i="1">
                              <a:latin typeface="Cambria Math" panose="02040503050406030204" pitchFamily="18" charset="0"/>
                            </a:rPr>
                          </m:ctrlPr>
                        </m:naryPr>
                        <m:sub>
                          <m:r>
                            <a:rPr lang="fr-FR" sz="1600" i="1">
                              <a:latin typeface="Cambria Math" panose="02040503050406030204" pitchFamily="18" charset="0"/>
                            </a:rPr>
                            <m:t>𝑖</m:t>
                          </m:r>
                          <m:r>
                            <a:rPr lang="fr-FR" sz="1600" i="0">
                              <a:latin typeface="Cambria Math" panose="02040503050406030204" pitchFamily="18" charset="0"/>
                            </a:rPr>
                            <m:t>=1</m:t>
                          </m:r>
                        </m:sub>
                        <m:sup>
                          <m:r>
                            <a:rPr lang="fr-FR" sz="1600" i="1">
                              <a:latin typeface="Cambria Math" panose="02040503050406030204" pitchFamily="18" charset="0"/>
                            </a:rPr>
                            <m:t>𝑁</m:t>
                          </m:r>
                        </m:sup>
                        <m:e>
                          <m:f>
                            <m:fPr>
                              <m:ctrlPr>
                                <a:rPr lang="fr-FR" sz="1600" i="1">
                                  <a:solidFill>
                                    <a:srgbClr val="836967"/>
                                  </a:solidFill>
                                  <a:latin typeface="Cambria Math" panose="02040503050406030204" pitchFamily="18" charset="0"/>
                                </a:rPr>
                              </m:ctrlPr>
                            </m:fPr>
                            <m:num>
                              <m:sSubSup>
                                <m:sSubSupPr>
                                  <m:ctrlPr>
                                    <a:rPr lang="fr-FR" sz="1600" i="1">
                                      <a:solidFill>
                                        <a:srgbClr val="836967"/>
                                      </a:solidFill>
                                      <a:latin typeface="Cambria Math" panose="02040503050406030204" pitchFamily="18" charset="0"/>
                                    </a:rPr>
                                  </m:ctrlPr>
                                </m:sSubSupPr>
                                <m:e>
                                  <m:d>
                                    <m:dPr>
                                      <m:begChr m:val="|"/>
                                      <m:endChr m:val=""/>
                                      <m:ctrlPr>
                                        <a:rPr lang="fr-FR" sz="1600" i="1">
                                          <a:latin typeface="Cambria Math" panose="02040503050406030204" pitchFamily="18" charset="0"/>
                                        </a:rPr>
                                      </m:ctrlPr>
                                    </m:dPr>
                                    <m:e>
                                      <m:r>
                                        <a:rPr lang="fr-FR" sz="1600" i="1">
                                          <a:latin typeface="Cambria Math" panose="02040503050406030204" pitchFamily="18" charset="0"/>
                                        </a:rPr>
                                        <m:t>𝑒</m:t>
                                      </m:r>
                                    </m:e>
                                  </m:d>
                                </m:e>
                                <m:sub>
                                  <m:r>
                                    <a:rPr lang="fr-FR" sz="1600" i="1">
                                      <a:latin typeface="Cambria Math" panose="02040503050406030204" pitchFamily="18" charset="0"/>
                                    </a:rPr>
                                    <m:t>𝑖</m:t>
                                  </m:r>
                                </m:sub>
                                <m:sup>
                                  <m:r>
                                    <a:rPr lang="fr-FR" sz="1600" i="1">
                                      <a:latin typeface="Cambria Math" panose="02040503050406030204" pitchFamily="18" charset="0"/>
                                    </a:rPr>
                                    <m:t>𝑐𝑎𝑟𝑏𝑜𝑛𝑒</m:t>
                                  </m:r>
                                </m:sup>
                              </m:sSubSup>
                              <m:r>
                                <a:rPr lang="fr-FR" sz="1600" i="0">
                                  <a:latin typeface="Cambria Math" panose="02040503050406030204" pitchFamily="18" charset="0"/>
                                </a:rPr>
                                <m:t>−</m:t>
                              </m:r>
                              <m:sSubSup>
                                <m:sSubSupPr>
                                  <m:ctrlPr>
                                    <a:rPr lang="fr-FR" sz="1600" i="1">
                                      <a:solidFill>
                                        <a:srgbClr val="836967"/>
                                      </a:solidFill>
                                      <a:latin typeface="Cambria Math" panose="02040503050406030204" pitchFamily="18" charset="0"/>
                                    </a:rPr>
                                  </m:ctrlPr>
                                </m:sSubSupPr>
                                <m:e>
                                  <m:acc>
                                    <m:accPr>
                                      <m:chr m:val="̂"/>
                                      <m:ctrlPr>
                                        <a:rPr lang="fr-FR" sz="1600" i="1">
                                          <a:solidFill>
                                            <a:srgbClr val="836967"/>
                                          </a:solidFill>
                                          <a:latin typeface="Cambria Math" panose="02040503050406030204" pitchFamily="18" charset="0"/>
                                        </a:rPr>
                                      </m:ctrlPr>
                                    </m:accPr>
                                    <m:e>
                                      <m:r>
                                        <a:rPr lang="fr-FR" sz="1600" i="1">
                                          <a:latin typeface="Cambria Math" panose="02040503050406030204" pitchFamily="18" charset="0"/>
                                        </a:rPr>
                                        <m:t>𝑒</m:t>
                                      </m:r>
                                    </m:e>
                                  </m:acc>
                                </m:e>
                                <m:sub>
                                  <m:r>
                                    <a:rPr lang="fr-FR" sz="1600" i="1">
                                      <a:latin typeface="Cambria Math" panose="02040503050406030204" pitchFamily="18" charset="0"/>
                                    </a:rPr>
                                    <m:t>𝑖</m:t>
                                  </m:r>
                                </m:sub>
                                <m:sup>
                                  <m:r>
                                    <a:rPr lang="fr-FR" sz="1600" i="1">
                                      <a:latin typeface="Cambria Math" panose="02040503050406030204" pitchFamily="18" charset="0"/>
                                    </a:rPr>
                                    <m:t>𝑐𝑎𝑟𝑏𝑜𝑛𝑒</m:t>
                                  </m:r>
                                </m:sup>
                              </m:sSubSup>
                              <m:r>
                                <a:rPr lang="fr-FR" sz="1600" b="0" i="1" smtClean="0">
                                  <a:latin typeface="Cambria Math" panose="02040503050406030204" pitchFamily="18" charset="0"/>
                                </a:rPr>
                                <m:t>|</m:t>
                              </m:r>
                            </m:num>
                            <m:den>
                              <m:sSubSup>
                                <m:sSubSupPr>
                                  <m:ctrlPr>
                                    <a:rPr lang="fr-FR" sz="1600" i="1">
                                      <a:solidFill>
                                        <a:srgbClr val="836967"/>
                                      </a:solidFill>
                                      <a:latin typeface="Cambria Math" panose="02040503050406030204" pitchFamily="18" charset="0"/>
                                    </a:rPr>
                                  </m:ctrlPr>
                                </m:sSubSupPr>
                                <m:e>
                                  <m:r>
                                    <a:rPr lang="fr-FR" sz="1600" i="1">
                                      <a:latin typeface="Cambria Math" panose="02040503050406030204" pitchFamily="18" charset="0"/>
                                    </a:rPr>
                                    <m:t>𝑒</m:t>
                                  </m:r>
                                </m:e>
                                <m:sub>
                                  <m:r>
                                    <a:rPr lang="fr-FR" sz="1600" i="1">
                                      <a:latin typeface="Cambria Math" panose="02040503050406030204" pitchFamily="18" charset="0"/>
                                    </a:rPr>
                                    <m:t>𝑖</m:t>
                                  </m:r>
                                </m:sub>
                                <m:sup>
                                  <m:r>
                                    <a:rPr lang="fr-FR" sz="1600" i="1">
                                      <a:latin typeface="Cambria Math" panose="02040503050406030204" pitchFamily="18" charset="0"/>
                                    </a:rPr>
                                    <m:t>𝑐𝑎𝑟𝑏𝑜𝑛𝑒</m:t>
                                  </m:r>
                                </m:sup>
                              </m:sSubSup>
                            </m:den>
                          </m:f>
                        </m:e>
                      </m:nary>
                    </m:oMath>
                  </m:oMathPara>
                </a14:m>
                <a:endParaRPr lang="fr-FR" sz="1600" dirty="0"/>
              </a:p>
            </p:txBody>
          </p:sp>
        </mc:Choice>
        <mc:Fallback xmlns="">
          <p:sp>
            <p:nvSpPr>
              <p:cNvPr id="88" name="ZoneTexte 87">
                <a:extLst>
                  <a:ext uri="{FF2B5EF4-FFF2-40B4-BE49-F238E27FC236}">
                    <a16:creationId xmlns:a16="http://schemas.microsoft.com/office/drawing/2014/main" id="{40980480-8FAA-E04C-B45C-AD19FAEF5F3F}"/>
                  </a:ext>
                </a:extLst>
              </p:cNvPr>
              <p:cNvSpPr txBox="1">
                <a:spLocks noRot="1" noChangeAspect="1" noMove="1" noResize="1" noEditPoints="1" noAdjustHandles="1" noChangeArrowheads="1" noChangeShapeType="1" noTextEdit="1"/>
              </p:cNvSpPr>
              <p:nvPr/>
            </p:nvSpPr>
            <p:spPr>
              <a:xfrm>
                <a:off x="1860690" y="3768726"/>
                <a:ext cx="3518421" cy="784638"/>
              </a:xfrm>
              <a:prstGeom prst="rect">
                <a:avLst/>
              </a:prstGeom>
              <a:blipFill>
                <a:blip r:embed="rId4"/>
                <a:stretch>
                  <a:fillRect t="-95238" b="-150794"/>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89" name="ZoneTexte 88">
                <a:extLst>
                  <a:ext uri="{FF2B5EF4-FFF2-40B4-BE49-F238E27FC236}">
                    <a16:creationId xmlns:a16="http://schemas.microsoft.com/office/drawing/2014/main" id="{42805411-67FC-1748-8DCB-F0C6A6E11B3E}"/>
                  </a:ext>
                </a:extLst>
              </p:cNvPr>
              <p:cNvSpPr txBox="1"/>
              <p:nvPr/>
            </p:nvSpPr>
            <p:spPr>
              <a:xfrm>
                <a:off x="1860690" y="4867797"/>
                <a:ext cx="4098093" cy="3385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600" i="1" smtClean="0">
                          <a:latin typeface="Cambria Math" panose="02040503050406030204" pitchFamily="18" charset="0"/>
                        </a:rPr>
                        <m:t>𝐸𝑟𝑟𝑒𝑢</m:t>
                      </m:r>
                      <m:sSub>
                        <m:sSubPr>
                          <m:ctrlPr>
                            <a:rPr lang="fr-FR" sz="1600" i="1">
                              <a:solidFill>
                                <a:srgbClr val="836967"/>
                              </a:solidFill>
                              <a:latin typeface="Cambria Math" panose="02040503050406030204" pitchFamily="18" charset="0"/>
                            </a:rPr>
                          </m:ctrlPr>
                        </m:sSubPr>
                        <m:e>
                          <m:r>
                            <a:rPr lang="fr-FR" sz="1600" i="1">
                              <a:latin typeface="Cambria Math" panose="02040503050406030204" pitchFamily="18" charset="0"/>
                            </a:rPr>
                            <m:t>𝑟</m:t>
                          </m:r>
                        </m:e>
                        <m:sub>
                          <m:r>
                            <a:rPr lang="fr-FR" sz="1600" i="1">
                              <a:latin typeface="Cambria Math" panose="02040503050406030204" pitchFamily="18" charset="0"/>
                            </a:rPr>
                            <m:t>𝑡𝑜𝑡𝑎𝑙𝑒</m:t>
                          </m:r>
                        </m:sub>
                      </m:sSub>
                      <m:r>
                        <a:rPr lang="fr-FR" sz="1600" i="0">
                          <a:latin typeface="Cambria Math" panose="02040503050406030204" pitchFamily="18" charset="0"/>
                        </a:rPr>
                        <m:t>=</m:t>
                      </m:r>
                      <m:r>
                        <a:rPr lang="fr-FR" sz="1600" b="1" i="0" smtClean="0">
                          <a:solidFill>
                            <a:srgbClr val="C00000"/>
                          </a:solidFill>
                          <a:latin typeface="Cambria Math" panose="02040503050406030204" pitchFamily="18" charset="0"/>
                        </a:rPr>
                        <m:t>𝟎</m:t>
                      </m:r>
                      <m:r>
                        <a:rPr lang="fr-FR" sz="1600" b="1" i="0" smtClean="0">
                          <a:solidFill>
                            <a:srgbClr val="C00000"/>
                          </a:solidFill>
                          <a:latin typeface="Cambria Math" panose="02040503050406030204" pitchFamily="18" charset="0"/>
                        </a:rPr>
                        <m:t>,</m:t>
                      </m:r>
                      <m:r>
                        <a:rPr lang="fr-FR" sz="1600" b="1" i="0" smtClean="0">
                          <a:solidFill>
                            <a:srgbClr val="C00000"/>
                          </a:solidFill>
                          <a:latin typeface="Cambria Math" panose="02040503050406030204" pitchFamily="18" charset="0"/>
                        </a:rPr>
                        <m:t>𝟕</m:t>
                      </m:r>
                      <m:r>
                        <a:rPr lang="fr-FR" sz="1600" i="0">
                          <a:latin typeface="Cambria Math" panose="02040503050406030204" pitchFamily="18" charset="0"/>
                        </a:rPr>
                        <m:t> .</m:t>
                      </m:r>
                      <m:r>
                        <a:rPr lang="fr-FR" sz="1600" i="1">
                          <a:latin typeface="Cambria Math" panose="02040503050406030204" pitchFamily="18" charset="0"/>
                        </a:rPr>
                        <m:t>𝐸𝑟𝑟𝑒𝑢</m:t>
                      </m:r>
                      <m:sSub>
                        <m:sSubPr>
                          <m:ctrlPr>
                            <a:rPr lang="fr-FR" sz="1600" i="1">
                              <a:solidFill>
                                <a:srgbClr val="836967"/>
                              </a:solidFill>
                              <a:latin typeface="Cambria Math" panose="02040503050406030204" pitchFamily="18" charset="0"/>
                            </a:rPr>
                          </m:ctrlPr>
                        </m:sSubPr>
                        <m:e>
                          <m:r>
                            <a:rPr lang="fr-FR" sz="1600" i="1">
                              <a:latin typeface="Cambria Math" panose="02040503050406030204" pitchFamily="18" charset="0"/>
                            </a:rPr>
                            <m:t>𝑟</m:t>
                          </m:r>
                        </m:e>
                        <m:sub>
                          <m:r>
                            <a:rPr lang="fr-FR" sz="1600" i="1">
                              <a:latin typeface="Cambria Math" panose="02040503050406030204" pitchFamily="18" charset="0"/>
                            </a:rPr>
                            <m:t>𝑙𝑜𝑐</m:t>
                          </m:r>
                        </m:sub>
                      </m:sSub>
                      <m:r>
                        <a:rPr lang="fr-FR" sz="1600" i="0">
                          <a:latin typeface="Cambria Math" panose="02040503050406030204" pitchFamily="18" charset="0"/>
                        </a:rPr>
                        <m:t>+</m:t>
                      </m:r>
                      <m:r>
                        <a:rPr lang="fr-FR" sz="1600" b="1" i="0" smtClean="0">
                          <a:solidFill>
                            <a:srgbClr val="C00000"/>
                          </a:solidFill>
                          <a:latin typeface="Cambria Math" panose="02040503050406030204" pitchFamily="18" charset="0"/>
                        </a:rPr>
                        <m:t>𝟎</m:t>
                      </m:r>
                      <m:r>
                        <a:rPr lang="fr-FR" sz="1600" b="1" i="0" smtClean="0">
                          <a:solidFill>
                            <a:srgbClr val="C00000"/>
                          </a:solidFill>
                          <a:latin typeface="Cambria Math" panose="02040503050406030204" pitchFamily="18" charset="0"/>
                        </a:rPr>
                        <m:t>,</m:t>
                      </m:r>
                      <m:r>
                        <a:rPr lang="fr-FR" sz="1600" b="1" i="0" smtClean="0">
                          <a:solidFill>
                            <a:srgbClr val="C00000"/>
                          </a:solidFill>
                          <a:latin typeface="Cambria Math" panose="02040503050406030204" pitchFamily="18" charset="0"/>
                        </a:rPr>
                        <m:t>𝟑</m:t>
                      </m:r>
                      <m:r>
                        <a:rPr lang="fr-FR" sz="1600" i="0">
                          <a:latin typeface="Cambria Math" panose="02040503050406030204" pitchFamily="18" charset="0"/>
                        </a:rPr>
                        <m:t> . </m:t>
                      </m:r>
                      <m:r>
                        <a:rPr lang="fr-FR" sz="1600" i="1">
                          <a:latin typeface="Cambria Math" panose="02040503050406030204" pitchFamily="18" charset="0"/>
                        </a:rPr>
                        <m:t>𝑀𝐴𝑃𝐸</m:t>
                      </m:r>
                    </m:oMath>
                  </m:oMathPara>
                </a14:m>
                <a:endParaRPr lang="fr-FR" sz="1600" dirty="0"/>
              </a:p>
            </p:txBody>
          </p:sp>
        </mc:Choice>
        <mc:Fallback xmlns="">
          <p:sp>
            <p:nvSpPr>
              <p:cNvPr id="89" name="ZoneTexte 88">
                <a:extLst>
                  <a:ext uri="{FF2B5EF4-FFF2-40B4-BE49-F238E27FC236}">
                    <a16:creationId xmlns:a16="http://schemas.microsoft.com/office/drawing/2014/main" id="{42805411-67FC-1748-8DCB-F0C6A6E11B3E}"/>
                  </a:ext>
                </a:extLst>
              </p:cNvPr>
              <p:cNvSpPr txBox="1">
                <a:spLocks noRot="1" noChangeAspect="1" noMove="1" noResize="1" noEditPoints="1" noAdjustHandles="1" noChangeArrowheads="1" noChangeShapeType="1" noTextEdit="1"/>
              </p:cNvSpPr>
              <p:nvPr/>
            </p:nvSpPr>
            <p:spPr>
              <a:xfrm>
                <a:off x="1860690" y="4867797"/>
                <a:ext cx="4098093" cy="338554"/>
              </a:xfrm>
              <a:prstGeom prst="rect">
                <a:avLst/>
              </a:prstGeom>
              <a:blipFill>
                <a:blip r:embed="rId5"/>
                <a:stretch>
                  <a:fillRect b="-18519"/>
                </a:stretch>
              </a:blipFill>
            </p:spPr>
            <p:txBody>
              <a:bodyPr/>
              <a:lstStyle/>
              <a:p>
                <a:r>
                  <a:rPr lang="fr-FR">
                    <a:noFill/>
                  </a:rPr>
                  <a:t> </a:t>
                </a:r>
              </a:p>
            </p:txBody>
          </p:sp>
        </mc:Fallback>
      </mc:AlternateContent>
      <p:grpSp>
        <p:nvGrpSpPr>
          <p:cNvPr id="91" name="Group 8">
            <a:extLst>
              <a:ext uri="{FF2B5EF4-FFF2-40B4-BE49-F238E27FC236}">
                <a16:creationId xmlns:a16="http://schemas.microsoft.com/office/drawing/2014/main" id="{0734DE03-D96E-7642-9C6E-23D317074289}"/>
              </a:ext>
            </a:extLst>
          </p:cNvPr>
          <p:cNvGrpSpPr/>
          <p:nvPr/>
        </p:nvGrpSpPr>
        <p:grpSpPr>
          <a:xfrm>
            <a:off x="843997" y="4640399"/>
            <a:ext cx="776640" cy="788114"/>
            <a:chOff x="5089525" y="2251248"/>
            <a:chExt cx="2006600" cy="2273127"/>
          </a:xfrm>
        </p:grpSpPr>
        <p:sp>
          <p:nvSpPr>
            <p:cNvPr id="92" name="Freeform 5">
              <a:extLst>
                <a:ext uri="{FF2B5EF4-FFF2-40B4-BE49-F238E27FC236}">
                  <a16:creationId xmlns:a16="http://schemas.microsoft.com/office/drawing/2014/main" id="{89F5EDDE-871C-264B-A808-659D4EF1F773}"/>
                </a:ext>
              </a:extLst>
            </p:cNvPr>
            <p:cNvSpPr>
              <a:spLocks/>
            </p:cNvSpPr>
            <p:nvPr/>
          </p:nvSpPr>
          <p:spPr bwMode="auto">
            <a:xfrm>
              <a:off x="5089525" y="3806825"/>
              <a:ext cx="2006600" cy="717550"/>
            </a:xfrm>
            <a:custGeom>
              <a:avLst/>
              <a:gdLst>
                <a:gd name="T0" fmla="*/ 451 w 629"/>
                <a:gd name="T1" fmla="*/ 74 h 225"/>
                <a:gd name="T2" fmla="*/ 466 w 629"/>
                <a:gd name="T3" fmla="*/ 74 h 225"/>
                <a:gd name="T4" fmla="*/ 503 w 629"/>
                <a:gd name="T5" fmla="*/ 64 h 225"/>
                <a:gd name="T6" fmla="*/ 583 w 629"/>
                <a:gd name="T7" fmla="*/ 15 h 225"/>
                <a:gd name="T8" fmla="*/ 600 w 629"/>
                <a:gd name="T9" fmla="*/ 4 h 225"/>
                <a:gd name="T10" fmla="*/ 621 w 629"/>
                <a:gd name="T11" fmla="*/ 9 h 225"/>
                <a:gd name="T12" fmla="*/ 627 w 629"/>
                <a:gd name="T13" fmla="*/ 19 h 225"/>
                <a:gd name="T14" fmla="*/ 626 w 629"/>
                <a:gd name="T15" fmla="*/ 26 h 225"/>
                <a:gd name="T16" fmla="*/ 588 w 629"/>
                <a:gd name="T17" fmla="*/ 67 h 225"/>
                <a:gd name="T18" fmla="*/ 547 w 629"/>
                <a:gd name="T19" fmla="*/ 105 h 225"/>
                <a:gd name="T20" fmla="*/ 516 w 629"/>
                <a:gd name="T21" fmla="*/ 135 h 225"/>
                <a:gd name="T22" fmla="*/ 497 w 629"/>
                <a:gd name="T23" fmla="*/ 148 h 225"/>
                <a:gd name="T24" fmla="*/ 447 w 629"/>
                <a:gd name="T25" fmla="*/ 179 h 225"/>
                <a:gd name="T26" fmla="*/ 393 w 629"/>
                <a:gd name="T27" fmla="*/ 219 h 225"/>
                <a:gd name="T28" fmla="*/ 371 w 629"/>
                <a:gd name="T29" fmla="*/ 223 h 225"/>
                <a:gd name="T30" fmla="*/ 329 w 629"/>
                <a:gd name="T31" fmla="*/ 212 h 225"/>
                <a:gd name="T32" fmla="*/ 285 w 629"/>
                <a:gd name="T33" fmla="*/ 201 h 225"/>
                <a:gd name="T34" fmla="*/ 225 w 629"/>
                <a:gd name="T35" fmla="*/ 189 h 225"/>
                <a:gd name="T36" fmla="*/ 186 w 629"/>
                <a:gd name="T37" fmla="*/ 181 h 225"/>
                <a:gd name="T38" fmla="*/ 169 w 629"/>
                <a:gd name="T39" fmla="*/ 180 h 225"/>
                <a:gd name="T40" fmla="*/ 121 w 629"/>
                <a:gd name="T41" fmla="*/ 170 h 225"/>
                <a:gd name="T42" fmla="*/ 66 w 629"/>
                <a:gd name="T43" fmla="*/ 157 h 225"/>
                <a:gd name="T44" fmla="*/ 23 w 629"/>
                <a:gd name="T45" fmla="*/ 149 h 225"/>
                <a:gd name="T46" fmla="*/ 9 w 629"/>
                <a:gd name="T47" fmla="*/ 145 h 225"/>
                <a:gd name="T48" fmla="*/ 4 w 629"/>
                <a:gd name="T49" fmla="*/ 140 h 225"/>
                <a:gd name="T50" fmla="*/ 3 w 629"/>
                <a:gd name="T51" fmla="*/ 94 h 225"/>
                <a:gd name="T52" fmla="*/ 21 w 629"/>
                <a:gd name="T53" fmla="*/ 29 h 225"/>
                <a:gd name="T54" fmla="*/ 39 w 629"/>
                <a:gd name="T55" fmla="*/ 4 h 225"/>
                <a:gd name="T56" fmla="*/ 45 w 629"/>
                <a:gd name="T57" fmla="*/ 2 h 225"/>
                <a:gd name="T58" fmla="*/ 106 w 629"/>
                <a:gd name="T59" fmla="*/ 21 h 225"/>
                <a:gd name="T60" fmla="*/ 125 w 629"/>
                <a:gd name="T61" fmla="*/ 27 h 225"/>
                <a:gd name="T62" fmla="*/ 135 w 629"/>
                <a:gd name="T63" fmla="*/ 27 h 225"/>
                <a:gd name="T64" fmla="*/ 175 w 629"/>
                <a:gd name="T65" fmla="*/ 17 h 225"/>
                <a:gd name="T66" fmla="*/ 231 w 629"/>
                <a:gd name="T67" fmla="*/ 11 h 225"/>
                <a:gd name="T68" fmla="*/ 274 w 629"/>
                <a:gd name="T69" fmla="*/ 24 h 225"/>
                <a:gd name="T70" fmla="*/ 329 w 629"/>
                <a:gd name="T71" fmla="*/ 52 h 225"/>
                <a:gd name="T72" fmla="*/ 356 w 629"/>
                <a:gd name="T73" fmla="*/ 57 h 225"/>
                <a:gd name="T74" fmla="*/ 417 w 629"/>
                <a:gd name="T75" fmla="*/ 71 h 225"/>
                <a:gd name="T76" fmla="*/ 433 w 629"/>
                <a:gd name="T77" fmla="*/ 87 h 225"/>
                <a:gd name="T78" fmla="*/ 422 w 629"/>
                <a:gd name="T79" fmla="*/ 112 h 225"/>
                <a:gd name="T80" fmla="*/ 386 w 629"/>
                <a:gd name="T81" fmla="*/ 113 h 225"/>
                <a:gd name="T82" fmla="*/ 309 w 629"/>
                <a:gd name="T83" fmla="*/ 113 h 225"/>
                <a:gd name="T84" fmla="*/ 279 w 629"/>
                <a:gd name="T85" fmla="*/ 120 h 225"/>
                <a:gd name="T86" fmla="*/ 272 w 629"/>
                <a:gd name="T87" fmla="*/ 134 h 225"/>
                <a:gd name="T88" fmla="*/ 285 w 629"/>
                <a:gd name="T89" fmla="*/ 141 h 225"/>
                <a:gd name="T90" fmla="*/ 296 w 629"/>
                <a:gd name="T91" fmla="*/ 137 h 225"/>
                <a:gd name="T92" fmla="*/ 366 w 629"/>
                <a:gd name="T93" fmla="*/ 134 h 225"/>
                <a:gd name="T94" fmla="*/ 409 w 629"/>
                <a:gd name="T95" fmla="*/ 136 h 225"/>
                <a:gd name="T96" fmla="*/ 437 w 629"/>
                <a:gd name="T97" fmla="*/ 130 h 225"/>
                <a:gd name="T98" fmla="*/ 453 w 629"/>
                <a:gd name="T99" fmla="*/ 77 h 225"/>
                <a:gd name="T100" fmla="*/ 451 w 629"/>
                <a:gd name="T101" fmla="*/ 7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9" h="225">
                  <a:moveTo>
                    <a:pt x="451" y="74"/>
                  </a:moveTo>
                  <a:cubicBezTo>
                    <a:pt x="457" y="74"/>
                    <a:pt x="462" y="74"/>
                    <a:pt x="466" y="74"/>
                  </a:cubicBezTo>
                  <a:cubicBezTo>
                    <a:pt x="480" y="73"/>
                    <a:pt x="491" y="68"/>
                    <a:pt x="503" y="64"/>
                  </a:cubicBezTo>
                  <a:cubicBezTo>
                    <a:pt x="533" y="52"/>
                    <a:pt x="557" y="33"/>
                    <a:pt x="583" y="15"/>
                  </a:cubicBezTo>
                  <a:cubicBezTo>
                    <a:pt x="589" y="11"/>
                    <a:pt x="594" y="7"/>
                    <a:pt x="600" y="4"/>
                  </a:cubicBezTo>
                  <a:cubicBezTo>
                    <a:pt x="608" y="0"/>
                    <a:pt x="615" y="2"/>
                    <a:pt x="621" y="9"/>
                  </a:cubicBezTo>
                  <a:cubicBezTo>
                    <a:pt x="623" y="12"/>
                    <a:pt x="625" y="16"/>
                    <a:pt x="627" y="19"/>
                  </a:cubicBezTo>
                  <a:cubicBezTo>
                    <a:pt x="629" y="22"/>
                    <a:pt x="628" y="24"/>
                    <a:pt x="626" y="26"/>
                  </a:cubicBezTo>
                  <a:cubicBezTo>
                    <a:pt x="613" y="40"/>
                    <a:pt x="601" y="54"/>
                    <a:pt x="588" y="67"/>
                  </a:cubicBezTo>
                  <a:cubicBezTo>
                    <a:pt x="575" y="80"/>
                    <a:pt x="560" y="92"/>
                    <a:pt x="547" y="105"/>
                  </a:cubicBezTo>
                  <a:cubicBezTo>
                    <a:pt x="536" y="115"/>
                    <a:pt x="527" y="126"/>
                    <a:pt x="516" y="135"/>
                  </a:cubicBezTo>
                  <a:cubicBezTo>
                    <a:pt x="511" y="140"/>
                    <a:pt x="503" y="144"/>
                    <a:pt x="497" y="148"/>
                  </a:cubicBezTo>
                  <a:cubicBezTo>
                    <a:pt x="480" y="158"/>
                    <a:pt x="464" y="169"/>
                    <a:pt x="447" y="179"/>
                  </a:cubicBezTo>
                  <a:cubicBezTo>
                    <a:pt x="427" y="190"/>
                    <a:pt x="411" y="205"/>
                    <a:pt x="393" y="219"/>
                  </a:cubicBezTo>
                  <a:cubicBezTo>
                    <a:pt x="386" y="225"/>
                    <a:pt x="379" y="225"/>
                    <a:pt x="371" y="223"/>
                  </a:cubicBezTo>
                  <a:cubicBezTo>
                    <a:pt x="357" y="219"/>
                    <a:pt x="343" y="216"/>
                    <a:pt x="329" y="212"/>
                  </a:cubicBezTo>
                  <a:cubicBezTo>
                    <a:pt x="314" y="208"/>
                    <a:pt x="300" y="205"/>
                    <a:pt x="285" y="201"/>
                  </a:cubicBezTo>
                  <a:cubicBezTo>
                    <a:pt x="265" y="197"/>
                    <a:pt x="245" y="193"/>
                    <a:pt x="225" y="189"/>
                  </a:cubicBezTo>
                  <a:cubicBezTo>
                    <a:pt x="212" y="186"/>
                    <a:pt x="199" y="183"/>
                    <a:pt x="186" y="181"/>
                  </a:cubicBezTo>
                  <a:cubicBezTo>
                    <a:pt x="180" y="180"/>
                    <a:pt x="174" y="180"/>
                    <a:pt x="169" y="180"/>
                  </a:cubicBezTo>
                  <a:cubicBezTo>
                    <a:pt x="152" y="180"/>
                    <a:pt x="137" y="175"/>
                    <a:pt x="121" y="170"/>
                  </a:cubicBezTo>
                  <a:cubicBezTo>
                    <a:pt x="103" y="165"/>
                    <a:pt x="85" y="161"/>
                    <a:pt x="66" y="157"/>
                  </a:cubicBezTo>
                  <a:cubicBezTo>
                    <a:pt x="52" y="154"/>
                    <a:pt x="38" y="152"/>
                    <a:pt x="23" y="149"/>
                  </a:cubicBezTo>
                  <a:cubicBezTo>
                    <a:pt x="18" y="148"/>
                    <a:pt x="13" y="147"/>
                    <a:pt x="9" y="145"/>
                  </a:cubicBezTo>
                  <a:cubicBezTo>
                    <a:pt x="7" y="144"/>
                    <a:pt x="5" y="142"/>
                    <a:pt x="4" y="140"/>
                  </a:cubicBezTo>
                  <a:cubicBezTo>
                    <a:pt x="0" y="125"/>
                    <a:pt x="1" y="109"/>
                    <a:pt x="3" y="94"/>
                  </a:cubicBezTo>
                  <a:cubicBezTo>
                    <a:pt x="6" y="72"/>
                    <a:pt x="12" y="50"/>
                    <a:pt x="21" y="29"/>
                  </a:cubicBezTo>
                  <a:cubicBezTo>
                    <a:pt x="26" y="20"/>
                    <a:pt x="30" y="10"/>
                    <a:pt x="39" y="4"/>
                  </a:cubicBezTo>
                  <a:cubicBezTo>
                    <a:pt x="40" y="3"/>
                    <a:pt x="43" y="2"/>
                    <a:pt x="45" y="2"/>
                  </a:cubicBezTo>
                  <a:cubicBezTo>
                    <a:pt x="66" y="8"/>
                    <a:pt x="86" y="15"/>
                    <a:pt x="106" y="21"/>
                  </a:cubicBezTo>
                  <a:cubicBezTo>
                    <a:pt x="113" y="23"/>
                    <a:pt x="119" y="25"/>
                    <a:pt x="125" y="27"/>
                  </a:cubicBezTo>
                  <a:cubicBezTo>
                    <a:pt x="129" y="28"/>
                    <a:pt x="132" y="28"/>
                    <a:pt x="135" y="27"/>
                  </a:cubicBezTo>
                  <a:cubicBezTo>
                    <a:pt x="149" y="24"/>
                    <a:pt x="162" y="20"/>
                    <a:pt x="175" y="17"/>
                  </a:cubicBezTo>
                  <a:cubicBezTo>
                    <a:pt x="193" y="13"/>
                    <a:pt x="212" y="9"/>
                    <a:pt x="231" y="11"/>
                  </a:cubicBezTo>
                  <a:cubicBezTo>
                    <a:pt x="246" y="13"/>
                    <a:pt x="261" y="17"/>
                    <a:pt x="274" y="24"/>
                  </a:cubicBezTo>
                  <a:cubicBezTo>
                    <a:pt x="293" y="33"/>
                    <a:pt x="311" y="42"/>
                    <a:pt x="329" y="52"/>
                  </a:cubicBezTo>
                  <a:cubicBezTo>
                    <a:pt x="337" y="56"/>
                    <a:pt x="347" y="56"/>
                    <a:pt x="356" y="57"/>
                  </a:cubicBezTo>
                  <a:cubicBezTo>
                    <a:pt x="377" y="60"/>
                    <a:pt x="398" y="62"/>
                    <a:pt x="417" y="71"/>
                  </a:cubicBezTo>
                  <a:cubicBezTo>
                    <a:pt x="425" y="74"/>
                    <a:pt x="428" y="81"/>
                    <a:pt x="433" y="87"/>
                  </a:cubicBezTo>
                  <a:cubicBezTo>
                    <a:pt x="440" y="96"/>
                    <a:pt x="435" y="111"/>
                    <a:pt x="422" y="112"/>
                  </a:cubicBezTo>
                  <a:cubicBezTo>
                    <a:pt x="410" y="113"/>
                    <a:pt x="398" y="114"/>
                    <a:pt x="386" y="113"/>
                  </a:cubicBezTo>
                  <a:cubicBezTo>
                    <a:pt x="360" y="111"/>
                    <a:pt x="334" y="109"/>
                    <a:pt x="309" y="113"/>
                  </a:cubicBezTo>
                  <a:cubicBezTo>
                    <a:pt x="299" y="114"/>
                    <a:pt x="289" y="117"/>
                    <a:pt x="279" y="120"/>
                  </a:cubicBezTo>
                  <a:cubicBezTo>
                    <a:pt x="273" y="122"/>
                    <a:pt x="270" y="128"/>
                    <a:pt x="272" y="134"/>
                  </a:cubicBezTo>
                  <a:cubicBezTo>
                    <a:pt x="274" y="139"/>
                    <a:pt x="279" y="142"/>
                    <a:pt x="285" y="141"/>
                  </a:cubicBezTo>
                  <a:cubicBezTo>
                    <a:pt x="289" y="140"/>
                    <a:pt x="292" y="138"/>
                    <a:pt x="296" y="137"/>
                  </a:cubicBezTo>
                  <a:cubicBezTo>
                    <a:pt x="319" y="131"/>
                    <a:pt x="343" y="132"/>
                    <a:pt x="366" y="134"/>
                  </a:cubicBezTo>
                  <a:cubicBezTo>
                    <a:pt x="381" y="135"/>
                    <a:pt x="395" y="136"/>
                    <a:pt x="409" y="136"/>
                  </a:cubicBezTo>
                  <a:cubicBezTo>
                    <a:pt x="418" y="136"/>
                    <a:pt x="428" y="134"/>
                    <a:pt x="437" y="130"/>
                  </a:cubicBezTo>
                  <a:cubicBezTo>
                    <a:pt x="454" y="122"/>
                    <a:pt x="465" y="96"/>
                    <a:pt x="453" y="77"/>
                  </a:cubicBezTo>
                  <a:cubicBezTo>
                    <a:pt x="452" y="76"/>
                    <a:pt x="452" y="76"/>
                    <a:pt x="451" y="7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93" name="Freeform 6">
              <a:extLst>
                <a:ext uri="{FF2B5EF4-FFF2-40B4-BE49-F238E27FC236}">
                  <a16:creationId xmlns:a16="http://schemas.microsoft.com/office/drawing/2014/main" id="{95F94CF8-20CD-4C42-A689-887CD61BA14B}"/>
                </a:ext>
              </a:extLst>
            </p:cNvPr>
            <p:cNvSpPr>
              <a:spLocks noEditPoints="1"/>
            </p:cNvSpPr>
            <p:nvPr/>
          </p:nvSpPr>
          <p:spPr bwMode="auto">
            <a:xfrm>
              <a:off x="5569302" y="2251248"/>
              <a:ext cx="1382548" cy="1677988"/>
            </a:xfrm>
            <a:custGeom>
              <a:avLst/>
              <a:gdLst>
                <a:gd name="T0" fmla="*/ 224 w 482"/>
                <a:gd name="T1" fmla="*/ 478 h 526"/>
                <a:gd name="T2" fmla="*/ 238 w 482"/>
                <a:gd name="T3" fmla="*/ 472 h 526"/>
                <a:gd name="T4" fmla="*/ 241 w 482"/>
                <a:gd name="T5" fmla="*/ 386 h 526"/>
                <a:gd name="T6" fmla="*/ 171 w 482"/>
                <a:gd name="T7" fmla="*/ 375 h 526"/>
                <a:gd name="T8" fmla="*/ 130 w 482"/>
                <a:gd name="T9" fmla="*/ 401 h 526"/>
                <a:gd name="T10" fmla="*/ 17 w 482"/>
                <a:gd name="T11" fmla="*/ 346 h 526"/>
                <a:gd name="T12" fmla="*/ 32 w 482"/>
                <a:gd name="T13" fmla="*/ 258 h 526"/>
                <a:gd name="T14" fmla="*/ 49 w 482"/>
                <a:gd name="T15" fmla="*/ 99 h 526"/>
                <a:gd name="T16" fmla="*/ 120 w 482"/>
                <a:gd name="T17" fmla="*/ 81 h 526"/>
                <a:gd name="T18" fmla="*/ 202 w 482"/>
                <a:gd name="T19" fmla="*/ 7 h 526"/>
                <a:gd name="T20" fmla="*/ 327 w 482"/>
                <a:gd name="T21" fmla="*/ 55 h 526"/>
                <a:gd name="T22" fmla="*/ 448 w 482"/>
                <a:gd name="T23" fmla="*/ 93 h 526"/>
                <a:gd name="T24" fmla="*/ 420 w 482"/>
                <a:gd name="T25" fmla="*/ 275 h 526"/>
                <a:gd name="T26" fmla="*/ 347 w 482"/>
                <a:gd name="T27" fmla="*/ 292 h 526"/>
                <a:gd name="T28" fmla="*/ 280 w 482"/>
                <a:gd name="T29" fmla="*/ 379 h 526"/>
                <a:gd name="T30" fmla="*/ 325 w 482"/>
                <a:gd name="T31" fmla="*/ 472 h 526"/>
                <a:gd name="T32" fmla="*/ 383 w 482"/>
                <a:gd name="T33" fmla="*/ 497 h 526"/>
                <a:gd name="T34" fmla="*/ 335 w 482"/>
                <a:gd name="T35" fmla="*/ 525 h 526"/>
                <a:gd name="T36" fmla="*/ 294 w 482"/>
                <a:gd name="T37" fmla="*/ 520 h 526"/>
                <a:gd name="T38" fmla="*/ 217 w 482"/>
                <a:gd name="T39" fmla="*/ 506 h 526"/>
                <a:gd name="T40" fmla="*/ 190 w 482"/>
                <a:gd name="T41" fmla="*/ 492 h 526"/>
                <a:gd name="T42" fmla="*/ 237 w 482"/>
                <a:gd name="T43" fmla="*/ 365 h 526"/>
                <a:gd name="T44" fmla="*/ 231 w 482"/>
                <a:gd name="T45" fmla="*/ 337 h 526"/>
                <a:gd name="T46" fmla="*/ 198 w 482"/>
                <a:gd name="T47" fmla="*/ 296 h 526"/>
                <a:gd name="T48" fmla="*/ 160 w 482"/>
                <a:gd name="T49" fmla="*/ 275 h 526"/>
                <a:gd name="T50" fmla="*/ 85 w 482"/>
                <a:gd name="T51" fmla="*/ 313 h 526"/>
                <a:gd name="T52" fmla="*/ 110 w 482"/>
                <a:gd name="T53" fmla="*/ 273 h 526"/>
                <a:gd name="T54" fmla="*/ 158 w 482"/>
                <a:gd name="T55" fmla="*/ 261 h 526"/>
                <a:gd name="T56" fmla="*/ 107 w 482"/>
                <a:gd name="T57" fmla="*/ 192 h 526"/>
                <a:gd name="T58" fmla="*/ 216 w 482"/>
                <a:gd name="T59" fmla="*/ 285 h 526"/>
                <a:gd name="T60" fmla="*/ 231 w 482"/>
                <a:gd name="T61" fmla="*/ 281 h 526"/>
                <a:gd name="T62" fmla="*/ 252 w 482"/>
                <a:gd name="T63" fmla="*/ 180 h 526"/>
                <a:gd name="T64" fmla="*/ 196 w 482"/>
                <a:gd name="T65" fmla="*/ 124 h 526"/>
                <a:gd name="T66" fmla="*/ 247 w 482"/>
                <a:gd name="T67" fmla="*/ 115 h 526"/>
                <a:gd name="T68" fmla="*/ 266 w 482"/>
                <a:gd name="T69" fmla="*/ 208 h 526"/>
                <a:gd name="T70" fmla="*/ 321 w 482"/>
                <a:gd name="T71" fmla="*/ 175 h 526"/>
                <a:gd name="T72" fmla="*/ 377 w 482"/>
                <a:gd name="T73" fmla="*/ 123 h 526"/>
                <a:gd name="T74" fmla="*/ 334 w 482"/>
                <a:gd name="T75" fmla="*/ 179 h 526"/>
                <a:gd name="T76" fmla="*/ 381 w 482"/>
                <a:gd name="T77" fmla="*/ 195 h 526"/>
                <a:gd name="T78" fmla="*/ 314 w 482"/>
                <a:gd name="T79" fmla="*/ 194 h 526"/>
                <a:gd name="T80" fmla="*/ 261 w 482"/>
                <a:gd name="T81" fmla="*/ 245 h 526"/>
                <a:gd name="T82" fmla="*/ 264 w 482"/>
                <a:gd name="T83" fmla="*/ 333 h 526"/>
                <a:gd name="T84" fmla="*/ 330 w 482"/>
                <a:gd name="T85" fmla="*/ 264 h 526"/>
                <a:gd name="T86" fmla="*/ 433 w 482"/>
                <a:gd name="T87" fmla="*/ 107 h 526"/>
                <a:gd name="T88" fmla="*/ 319 w 482"/>
                <a:gd name="T89" fmla="*/ 86 h 526"/>
                <a:gd name="T90" fmla="*/ 247 w 482"/>
                <a:gd name="T91" fmla="*/ 27 h 526"/>
                <a:gd name="T92" fmla="*/ 140 w 482"/>
                <a:gd name="T93" fmla="*/ 107 h 526"/>
                <a:gd name="T94" fmla="*/ 127 w 482"/>
                <a:gd name="T95" fmla="*/ 116 h 526"/>
                <a:gd name="T96" fmla="*/ 25 w 482"/>
                <a:gd name="T97" fmla="*/ 166 h 526"/>
                <a:gd name="T98" fmla="*/ 69 w 482"/>
                <a:gd name="T99" fmla="*/ 259 h 526"/>
                <a:gd name="T100" fmla="*/ 36 w 482"/>
                <a:gd name="T101" fmla="*/ 336 h 526"/>
                <a:gd name="T102" fmla="*/ 157 w 482"/>
                <a:gd name="T103" fmla="*/ 352 h 526"/>
                <a:gd name="T104" fmla="*/ 237 w 482"/>
                <a:gd name="T105" fmla="*/ 36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2" h="526">
                  <a:moveTo>
                    <a:pt x="190" y="490"/>
                  </a:moveTo>
                  <a:cubicBezTo>
                    <a:pt x="201" y="486"/>
                    <a:pt x="212" y="482"/>
                    <a:pt x="224" y="478"/>
                  </a:cubicBezTo>
                  <a:cubicBezTo>
                    <a:pt x="228" y="476"/>
                    <a:pt x="232" y="476"/>
                    <a:pt x="236" y="475"/>
                  </a:cubicBezTo>
                  <a:cubicBezTo>
                    <a:pt x="237" y="474"/>
                    <a:pt x="238" y="473"/>
                    <a:pt x="238" y="472"/>
                  </a:cubicBezTo>
                  <a:cubicBezTo>
                    <a:pt x="240" y="464"/>
                    <a:pt x="242" y="456"/>
                    <a:pt x="243" y="448"/>
                  </a:cubicBezTo>
                  <a:cubicBezTo>
                    <a:pt x="245" y="427"/>
                    <a:pt x="245" y="407"/>
                    <a:pt x="241" y="386"/>
                  </a:cubicBezTo>
                  <a:cubicBezTo>
                    <a:pt x="239" y="386"/>
                    <a:pt x="237" y="386"/>
                    <a:pt x="235" y="386"/>
                  </a:cubicBezTo>
                  <a:cubicBezTo>
                    <a:pt x="213" y="388"/>
                    <a:pt x="191" y="385"/>
                    <a:pt x="171" y="375"/>
                  </a:cubicBezTo>
                  <a:cubicBezTo>
                    <a:pt x="170" y="374"/>
                    <a:pt x="167" y="375"/>
                    <a:pt x="166" y="376"/>
                  </a:cubicBezTo>
                  <a:cubicBezTo>
                    <a:pt x="156" y="387"/>
                    <a:pt x="144" y="396"/>
                    <a:pt x="130" y="401"/>
                  </a:cubicBezTo>
                  <a:cubicBezTo>
                    <a:pt x="113" y="406"/>
                    <a:pt x="97" y="408"/>
                    <a:pt x="80" y="403"/>
                  </a:cubicBezTo>
                  <a:cubicBezTo>
                    <a:pt x="49" y="396"/>
                    <a:pt x="27" y="376"/>
                    <a:pt x="17" y="346"/>
                  </a:cubicBezTo>
                  <a:cubicBezTo>
                    <a:pt x="8" y="317"/>
                    <a:pt x="13" y="289"/>
                    <a:pt x="32" y="265"/>
                  </a:cubicBezTo>
                  <a:cubicBezTo>
                    <a:pt x="34" y="262"/>
                    <a:pt x="34" y="261"/>
                    <a:pt x="32" y="258"/>
                  </a:cubicBezTo>
                  <a:cubicBezTo>
                    <a:pt x="10" y="236"/>
                    <a:pt x="0" y="210"/>
                    <a:pt x="2" y="179"/>
                  </a:cubicBezTo>
                  <a:cubicBezTo>
                    <a:pt x="4" y="144"/>
                    <a:pt x="19" y="117"/>
                    <a:pt x="49" y="99"/>
                  </a:cubicBezTo>
                  <a:cubicBezTo>
                    <a:pt x="68" y="87"/>
                    <a:pt x="88" y="84"/>
                    <a:pt x="110" y="88"/>
                  </a:cubicBezTo>
                  <a:cubicBezTo>
                    <a:pt x="118" y="90"/>
                    <a:pt x="118" y="89"/>
                    <a:pt x="120" y="81"/>
                  </a:cubicBezTo>
                  <a:cubicBezTo>
                    <a:pt x="125" y="62"/>
                    <a:pt x="135" y="46"/>
                    <a:pt x="149" y="34"/>
                  </a:cubicBezTo>
                  <a:cubicBezTo>
                    <a:pt x="165" y="20"/>
                    <a:pt x="182" y="11"/>
                    <a:pt x="202" y="7"/>
                  </a:cubicBezTo>
                  <a:cubicBezTo>
                    <a:pt x="237" y="0"/>
                    <a:pt x="269" y="5"/>
                    <a:pt x="299" y="25"/>
                  </a:cubicBezTo>
                  <a:cubicBezTo>
                    <a:pt x="311" y="33"/>
                    <a:pt x="320" y="43"/>
                    <a:pt x="327" y="55"/>
                  </a:cubicBezTo>
                  <a:cubicBezTo>
                    <a:pt x="329" y="58"/>
                    <a:pt x="330" y="58"/>
                    <a:pt x="334" y="58"/>
                  </a:cubicBezTo>
                  <a:cubicBezTo>
                    <a:pt x="379" y="48"/>
                    <a:pt x="418" y="58"/>
                    <a:pt x="448" y="93"/>
                  </a:cubicBezTo>
                  <a:cubicBezTo>
                    <a:pt x="473" y="120"/>
                    <a:pt x="482" y="152"/>
                    <a:pt x="477" y="189"/>
                  </a:cubicBezTo>
                  <a:cubicBezTo>
                    <a:pt x="472" y="227"/>
                    <a:pt x="453" y="256"/>
                    <a:pt x="420" y="275"/>
                  </a:cubicBezTo>
                  <a:cubicBezTo>
                    <a:pt x="399" y="287"/>
                    <a:pt x="376" y="292"/>
                    <a:pt x="352" y="289"/>
                  </a:cubicBezTo>
                  <a:cubicBezTo>
                    <a:pt x="349" y="289"/>
                    <a:pt x="348" y="289"/>
                    <a:pt x="347" y="292"/>
                  </a:cubicBezTo>
                  <a:cubicBezTo>
                    <a:pt x="338" y="329"/>
                    <a:pt x="316" y="356"/>
                    <a:pt x="282" y="374"/>
                  </a:cubicBezTo>
                  <a:cubicBezTo>
                    <a:pt x="279" y="375"/>
                    <a:pt x="279" y="376"/>
                    <a:pt x="280" y="379"/>
                  </a:cubicBezTo>
                  <a:cubicBezTo>
                    <a:pt x="291" y="403"/>
                    <a:pt x="302" y="428"/>
                    <a:pt x="313" y="452"/>
                  </a:cubicBezTo>
                  <a:cubicBezTo>
                    <a:pt x="316" y="459"/>
                    <a:pt x="321" y="465"/>
                    <a:pt x="325" y="472"/>
                  </a:cubicBezTo>
                  <a:cubicBezTo>
                    <a:pt x="326" y="473"/>
                    <a:pt x="328" y="474"/>
                    <a:pt x="329" y="475"/>
                  </a:cubicBezTo>
                  <a:cubicBezTo>
                    <a:pt x="348" y="479"/>
                    <a:pt x="366" y="486"/>
                    <a:pt x="383" y="497"/>
                  </a:cubicBezTo>
                  <a:cubicBezTo>
                    <a:pt x="387" y="500"/>
                    <a:pt x="391" y="502"/>
                    <a:pt x="396" y="505"/>
                  </a:cubicBezTo>
                  <a:cubicBezTo>
                    <a:pt x="376" y="515"/>
                    <a:pt x="357" y="525"/>
                    <a:pt x="335" y="525"/>
                  </a:cubicBezTo>
                  <a:cubicBezTo>
                    <a:pt x="330" y="525"/>
                    <a:pt x="324" y="525"/>
                    <a:pt x="319" y="525"/>
                  </a:cubicBezTo>
                  <a:cubicBezTo>
                    <a:pt x="310" y="526"/>
                    <a:pt x="302" y="523"/>
                    <a:pt x="294" y="520"/>
                  </a:cubicBezTo>
                  <a:cubicBezTo>
                    <a:pt x="278" y="514"/>
                    <a:pt x="262" y="511"/>
                    <a:pt x="245" y="509"/>
                  </a:cubicBezTo>
                  <a:cubicBezTo>
                    <a:pt x="236" y="508"/>
                    <a:pt x="226" y="508"/>
                    <a:pt x="217" y="506"/>
                  </a:cubicBezTo>
                  <a:cubicBezTo>
                    <a:pt x="210" y="504"/>
                    <a:pt x="204" y="500"/>
                    <a:pt x="198" y="497"/>
                  </a:cubicBezTo>
                  <a:cubicBezTo>
                    <a:pt x="195" y="495"/>
                    <a:pt x="193" y="493"/>
                    <a:pt x="190" y="492"/>
                  </a:cubicBezTo>
                  <a:cubicBezTo>
                    <a:pt x="190" y="491"/>
                    <a:pt x="190" y="491"/>
                    <a:pt x="190" y="490"/>
                  </a:cubicBezTo>
                  <a:close/>
                  <a:moveTo>
                    <a:pt x="237" y="365"/>
                  </a:moveTo>
                  <a:cubicBezTo>
                    <a:pt x="237" y="363"/>
                    <a:pt x="236" y="362"/>
                    <a:pt x="236" y="360"/>
                  </a:cubicBezTo>
                  <a:cubicBezTo>
                    <a:pt x="234" y="352"/>
                    <a:pt x="233" y="344"/>
                    <a:pt x="231" y="337"/>
                  </a:cubicBezTo>
                  <a:cubicBezTo>
                    <a:pt x="231" y="334"/>
                    <a:pt x="230" y="330"/>
                    <a:pt x="228" y="328"/>
                  </a:cubicBezTo>
                  <a:cubicBezTo>
                    <a:pt x="218" y="317"/>
                    <a:pt x="208" y="306"/>
                    <a:pt x="198" y="296"/>
                  </a:cubicBezTo>
                  <a:cubicBezTo>
                    <a:pt x="192" y="291"/>
                    <a:pt x="185" y="285"/>
                    <a:pt x="177" y="281"/>
                  </a:cubicBezTo>
                  <a:cubicBezTo>
                    <a:pt x="172" y="278"/>
                    <a:pt x="166" y="276"/>
                    <a:pt x="160" y="275"/>
                  </a:cubicBezTo>
                  <a:cubicBezTo>
                    <a:pt x="146" y="272"/>
                    <a:pt x="131" y="272"/>
                    <a:pt x="117" y="277"/>
                  </a:cubicBezTo>
                  <a:cubicBezTo>
                    <a:pt x="101" y="284"/>
                    <a:pt x="90" y="296"/>
                    <a:pt x="85" y="313"/>
                  </a:cubicBezTo>
                  <a:cubicBezTo>
                    <a:pt x="84" y="312"/>
                    <a:pt x="84" y="311"/>
                    <a:pt x="84" y="310"/>
                  </a:cubicBezTo>
                  <a:cubicBezTo>
                    <a:pt x="88" y="294"/>
                    <a:pt x="97" y="282"/>
                    <a:pt x="110" y="273"/>
                  </a:cubicBezTo>
                  <a:cubicBezTo>
                    <a:pt x="123" y="265"/>
                    <a:pt x="138" y="262"/>
                    <a:pt x="153" y="262"/>
                  </a:cubicBezTo>
                  <a:cubicBezTo>
                    <a:pt x="154" y="262"/>
                    <a:pt x="156" y="262"/>
                    <a:pt x="158" y="261"/>
                  </a:cubicBezTo>
                  <a:cubicBezTo>
                    <a:pt x="132" y="236"/>
                    <a:pt x="108" y="212"/>
                    <a:pt x="99" y="177"/>
                  </a:cubicBezTo>
                  <a:cubicBezTo>
                    <a:pt x="102" y="182"/>
                    <a:pt x="104" y="187"/>
                    <a:pt x="107" y="192"/>
                  </a:cubicBezTo>
                  <a:cubicBezTo>
                    <a:pt x="119" y="212"/>
                    <a:pt x="136" y="228"/>
                    <a:pt x="154" y="241"/>
                  </a:cubicBezTo>
                  <a:cubicBezTo>
                    <a:pt x="174" y="256"/>
                    <a:pt x="195" y="270"/>
                    <a:pt x="216" y="285"/>
                  </a:cubicBezTo>
                  <a:cubicBezTo>
                    <a:pt x="221" y="288"/>
                    <a:pt x="225" y="291"/>
                    <a:pt x="229" y="294"/>
                  </a:cubicBezTo>
                  <a:cubicBezTo>
                    <a:pt x="230" y="289"/>
                    <a:pt x="230" y="285"/>
                    <a:pt x="231" y="281"/>
                  </a:cubicBezTo>
                  <a:cubicBezTo>
                    <a:pt x="234" y="267"/>
                    <a:pt x="236" y="252"/>
                    <a:pt x="240" y="238"/>
                  </a:cubicBezTo>
                  <a:cubicBezTo>
                    <a:pt x="245" y="219"/>
                    <a:pt x="250" y="200"/>
                    <a:pt x="252" y="180"/>
                  </a:cubicBezTo>
                  <a:cubicBezTo>
                    <a:pt x="253" y="173"/>
                    <a:pt x="252" y="166"/>
                    <a:pt x="248" y="160"/>
                  </a:cubicBezTo>
                  <a:cubicBezTo>
                    <a:pt x="235" y="141"/>
                    <a:pt x="218" y="129"/>
                    <a:pt x="196" y="124"/>
                  </a:cubicBezTo>
                  <a:cubicBezTo>
                    <a:pt x="217" y="125"/>
                    <a:pt x="235" y="134"/>
                    <a:pt x="252" y="148"/>
                  </a:cubicBezTo>
                  <a:cubicBezTo>
                    <a:pt x="251" y="137"/>
                    <a:pt x="249" y="126"/>
                    <a:pt x="247" y="115"/>
                  </a:cubicBezTo>
                  <a:cubicBezTo>
                    <a:pt x="244" y="105"/>
                    <a:pt x="241" y="94"/>
                    <a:pt x="237" y="83"/>
                  </a:cubicBezTo>
                  <a:cubicBezTo>
                    <a:pt x="260" y="122"/>
                    <a:pt x="268" y="164"/>
                    <a:pt x="266" y="208"/>
                  </a:cubicBezTo>
                  <a:cubicBezTo>
                    <a:pt x="268" y="207"/>
                    <a:pt x="269" y="207"/>
                    <a:pt x="269" y="207"/>
                  </a:cubicBezTo>
                  <a:cubicBezTo>
                    <a:pt x="287" y="196"/>
                    <a:pt x="304" y="186"/>
                    <a:pt x="321" y="175"/>
                  </a:cubicBezTo>
                  <a:cubicBezTo>
                    <a:pt x="336" y="166"/>
                    <a:pt x="351" y="156"/>
                    <a:pt x="363" y="143"/>
                  </a:cubicBezTo>
                  <a:cubicBezTo>
                    <a:pt x="368" y="137"/>
                    <a:pt x="372" y="130"/>
                    <a:pt x="377" y="123"/>
                  </a:cubicBezTo>
                  <a:cubicBezTo>
                    <a:pt x="373" y="135"/>
                    <a:pt x="367" y="145"/>
                    <a:pt x="359" y="154"/>
                  </a:cubicBezTo>
                  <a:cubicBezTo>
                    <a:pt x="351" y="162"/>
                    <a:pt x="342" y="170"/>
                    <a:pt x="334" y="179"/>
                  </a:cubicBezTo>
                  <a:cubicBezTo>
                    <a:pt x="342" y="180"/>
                    <a:pt x="351" y="182"/>
                    <a:pt x="359" y="184"/>
                  </a:cubicBezTo>
                  <a:cubicBezTo>
                    <a:pt x="368" y="186"/>
                    <a:pt x="378" y="191"/>
                    <a:pt x="381" y="195"/>
                  </a:cubicBezTo>
                  <a:cubicBezTo>
                    <a:pt x="374" y="193"/>
                    <a:pt x="367" y="190"/>
                    <a:pt x="360" y="189"/>
                  </a:cubicBezTo>
                  <a:cubicBezTo>
                    <a:pt x="344" y="185"/>
                    <a:pt x="328" y="185"/>
                    <a:pt x="314" y="194"/>
                  </a:cubicBezTo>
                  <a:cubicBezTo>
                    <a:pt x="298" y="203"/>
                    <a:pt x="283" y="215"/>
                    <a:pt x="271" y="230"/>
                  </a:cubicBezTo>
                  <a:cubicBezTo>
                    <a:pt x="267" y="234"/>
                    <a:pt x="263" y="239"/>
                    <a:pt x="261" y="245"/>
                  </a:cubicBezTo>
                  <a:cubicBezTo>
                    <a:pt x="259" y="253"/>
                    <a:pt x="259" y="262"/>
                    <a:pt x="258" y="271"/>
                  </a:cubicBezTo>
                  <a:cubicBezTo>
                    <a:pt x="257" y="292"/>
                    <a:pt x="259" y="312"/>
                    <a:pt x="264" y="333"/>
                  </a:cubicBezTo>
                  <a:cubicBezTo>
                    <a:pt x="266" y="340"/>
                    <a:pt x="269" y="348"/>
                    <a:pt x="271" y="356"/>
                  </a:cubicBezTo>
                  <a:cubicBezTo>
                    <a:pt x="309" y="336"/>
                    <a:pt x="328" y="305"/>
                    <a:pt x="330" y="264"/>
                  </a:cubicBezTo>
                  <a:cubicBezTo>
                    <a:pt x="382" y="277"/>
                    <a:pt x="422" y="263"/>
                    <a:pt x="447" y="216"/>
                  </a:cubicBezTo>
                  <a:cubicBezTo>
                    <a:pt x="466" y="180"/>
                    <a:pt x="460" y="139"/>
                    <a:pt x="433" y="107"/>
                  </a:cubicBezTo>
                  <a:cubicBezTo>
                    <a:pt x="419" y="90"/>
                    <a:pt x="401" y="80"/>
                    <a:pt x="379" y="76"/>
                  </a:cubicBezTo>
                  <a:cubicBezTo>
                    <a:pt x="358" y="72"/>
                    <a:pt x="338" y="77"/>
                    <a:pt x="319" y="86"/>
                  </a:cubicBezTo>
                  <a:cubicBezTo>
                    <a:pt x="316" y="80"/>
                    <a:pt x="314" y="74"/>
                    <a:pt x="311" y="69"/>
                  </a:cubicBezTo>
                  <a:cubicBezTo>
                    <a:pt x="297" y="44"/>
                    <a:pt x="274" y="31"/>
                    <a:pt x="247" y="27"/>
                  </a:cubicBezTo>
                  <a:cubicBezTo>
                    <a:pt x="224" y="23"/>
                    <a:pt x="202" y="26"/>
                    <a:pt x="182" y="37"/>
                  </a:cubicBezTo>
                  <a:cubicBezTo>
                    <a:pt x="154" y="52"/>
                    <a:pt x="137" y="74"/>
                    <a:pt x="140" y="107"/>
                  </a:cubicBezTo>
                  <a:cubicBezTo>
                    <a:pt x="140" y="112"/>
                    <a:pt x="140" y="117"/>
                    <a:pt x="140" y="123"/>
                  </a:cubicBezTo>
                  <a:cubicBezTo>
                    <a:pt x="135" y="120"/>
                    <a:pt x="131" y="118"/>
                    <a:pt x="127" y="116"/>
                  </a:cubicBezTo>
                  <a:cubicBezTo>
                    <a:pt x="104" y="104"/>
                    <a:pt x="81" y="104"/>
                    <a:pt x="59" y="117"/>
                  </a:cubicBezTo>
                  <a:cubicBezTo>
                    <a:pt x="41" y="129"/>
                    <a:pt x="29" y="145"/>
                    <a:pt x="25" y="166"/>
                  </a:cubicBezTo>
                  <a:cubicBezTo>
                    <a:pt x="17" y="199"/>
                    <a:pt x="27" y="227"/>
                    <a:pt x="53" y="248"/>
                  </a:cubicBezTo>
                  <a:cubicBezTo>
                    <a:pt x="58" y="252"/>
                    <a:pt x="63" y="256"/>
                    <a:pt x="69" y="259"/>
                  </a:cubicBezTo>
                  <a:cubicBezTo>
                    <a:pt x="65" y="262"/>
                    <a:pt x="62" y="265"/>
                    <a:pt x="59" y="267"/>
                  </a:cubicBezTo>
                  <a:cubicBezTo>
                    <a:pt x="38" y="285"/>
                    <a:pt x="29" y="308"/>
                    <a:pt x="36" y="336"/>
                  </a:cubicBezTo>
                  <a:cubicBezTo>
                    <a:pt x="43" y="361"/>
                    <a:pt x="66" y="382"/>
                    <a:pt x="92" y="384"/>
                  </a:cubicBezTo>
                  <a:cubicBezTo>
                    <a:pt x="120" y="387"/>
                    <a:pt x="142" y="376"/>
                    <a:pt x="157" y="352"/>
                  </a:cubicBezTo>
                  <a:cubicBezTo>
                    <a:pt x="162" y="346"/>
                    <a:pt x="162" y="345"/>
                    <a:pt x="168" y="350"/>
                  </a:cubicBezTo>
                  <a:cubicBezTo>
                    <a:pt x="189" y="363"/>
                    <a:pt x="211" y="369"/>
                    <a:pt x="237" y="365"/>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grpSp>
      <mc:AlternateContent xmlns:mc="http://schemas.openxmlformats.org/markup-compatibility/2006" xmlns:a14="http://schemas.microsoft.com/office/drawing/2010/main">
        <mc:Choice Requires="a14">
          <p:sp>
            <p:nvSpPr>
              <p:cNvPr id="2" name="ZoneTexte 1">
                <a:extLst>
                  <a:ext uri="{FF2B5EF4-FFF2-40B4-BE49-F238E27FC236}">
                    <a16:creationId xmlns:a16="http://schemas.microsoft.com/office/drawing/2014/main" id="{23D7B51F-DDF8-054C-B7AC-E1F75A75C5A9}"/>
                  </a:ext>
                </a:extLst>
              </p:cNvPr>
              <p:cNvSpPr txBox="1"/>
              <p:nvPr/>
            </p:nvSpPr>
            <p:spPr>
              <a:xfrm>
                <a:off x="766135" y="1043621"/>
                <a:ext cx="6915599" cy="989310"/>
              </a:xfrm>
              <a:prstGeom prst="rect">
                <a:avLst/>
              </a:prstGeom>
              <a:noFill/>
            </p:spPr>
            <p:txBody>
              <a:bodyPr wrap="square" rtlCol="0">
                <a:spAutoFit/>
              </a:bodyPr>
              <a:lstStyle/>
              <a:p>
                <a:r>
                  <a:rPr lang="fr-FR" sz="1100" b="1" dirty="0"/>
                  <a:t>Soient</a:t>
                </a:r>
                <a:r>
                  <a:rPr lang="fr-FR" sz="1100" dirty="0"/>
                  <a:t> : i une image, </a:t>
                </a:r>
                <a14:m>
                  <m:oMath xmlns:m="http://schemas.openxmlformats.org/officeDocument/2006/math">
                    <m:sSubSup>
                      <m:sSubSupPr>
                        <m:ctrlPr>
                          <a:rPr lang="fr-FR" sz="1100" i="1">
                            <a:solidFill>
                              <a:srgbClr val="836967"/>
                            </a:solidFill>
                            <a:latin typeface="Cambria Math" panose="02040503050406030204" pitchFamily="18" charset="0"/>
                          </a:rPr>
                        </m:ctrlPr>
                      </m:sSubSupPr>
                      <m:e>
                        <m:r>
                          <a:rPr lang="fr-FR" sz="1100" b="0" i="1" smtClean="0">
                            <a:solidFill>
                              <a:srgbClr val="836967"/>
                            </a:solidFill>
                            <a:latin typeface="Cambria Math" panose="02040503050406030204" pitchFamily="18" charset="0"/>
                          </a:rPr>
                          <m:t>𝑒</m:t>
                        </m:r>
                      </m:e>
                      <m:sub>
                        <m:r>
                          <a:rPr lang="fr-FR" sz="1100" i="1">
                            <a:latin typeface="Cambria Math" panose="02040503050406030204" pitchFamily="18" charset="0"/>
                          </a:rPr>
                          <m:t>𝑖</m:t>
                        </m:r>
                      </m:sub>
                      <m:sup>
                        <m:r>
                          <a:rPr lang="fr-FR" sz="1100" i="1">
                            <a:latin typeface="Cambria Math" panose="02040503050406030204" pitchFamily="18" charset="0"/>
                          </a:rPr>
                          <m:t>𝑐𝑎𝑟𝑏𝑜𝑛𝑒</m:t>
                        </m:r>
                      </m:sup>
                    </m:sSubSup>
                  </m:oMath>
                </a14:m>
                <a:r>
                  <a:rPr lang="fr-FR" sz="1100" dirty="0"/>
                  <a:t> l’empreinte carbone réelle de la voiture dans l’image i, (</a:t>
                </a:r>
                <a14:m>
                  <m:oMath xmlns:m="http://schemas.openxmlformats.org/officeDocument/2006/math">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𝑥</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𝑖𝑛</m:t>
                        </m:r>
                      </m:sup>
                    </m:sSubSup>
                    <m:r>
                      <a:rPr lang="fr-FR" sz="1100" i="1">
                        <a:latin typeface="Cambria Math" panose="02040503050406030204" pitchFamily="18" charset="0"/>
                        <a:ea typeface="Cambria Math" panose="02040503050406030204" pitchFamily="18" charset="0"/>
                      </a:rPr>
                      <m:t>,</m:t>
                    </m:r>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𝑦</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𝑖𝑛</m:t>
                        </m:r>
                      </m:sup>
                    </m:sSubSup>
                    <m:r>
                      <a:rPr lang="fr-FR" sz="1100" i="1">
                        <a:latin typeface="Cambria Math" panose="02040503050406030204" pitchFamily="18" charset="0"/>
                        <a:ea typeface="Cambria Math" panose="02040503050406030204" pitchFamily="18" charset="0"/>
                      </a:rPr>
                      <m:t>,</m:t>
                    </m:r>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𝑥</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𝑎𝑥</m:t>
                        </m:r>
                      </m:sup>
                    </m:sSubSup>
                    <m:r>
                      <a:rPr lang="fr-FR" sz="1100" i="1">
                        <a:latin typeface="Cambria Math" panose="02040503050406030204" pitchFamily="18" charset="0"/>
                        <a:ea typeface="Cambria Math" panose="02040503050406030204" pitchFamily="18" charset="0"/>
                      </a:rPr>
                      <m:t>,</m:t>
                    </m:r>
                    <m:sSubSup>
                      <m:sSubSupPr>
                        <m:ctrlPr>
                          <a:rPr lang="fr-FR" sz="1100" b="0" i="1" smtClean="0">
                            <a:latin typeface="Cambria Math" panose="02040503050406030204" pitchFamily="18" charset="0"/>
                            <a:ea typeface="Cambria Math" panose="02040503050406030204" pitchFamily="18" charset="0"/>
                          </a:rPr>
                        </m:ctrlPr>
                      </m:sSubSupPr>
                      <m:e>
                        <m:r>
                          <a:rPr lang="fr-FR" sz="1100" i="1">
                            <a:latin typeface="Cambria Math" panose="02040503050406030204" pitchFamily="18" charset="0"/>
                            <a:ea typeface="Cambria Math" panose="02040503050406030204" pitchFamily="18" charset="0"/>
                          </a:rPr>
                          <m:t>𝑦</m:t>
                        </m:r>
                      </m:e>
                      <m:sub>
                        <m:r>
                          <a:rPr lang="fr-FR" sz="1100" b="0" i="1" smtClean="0">
                            <a:latin typeface="Cambria Math" panose="02040503050406030204" pitchFamily="18" charset="0"/>
                            <a:ea typeface="Cambria Math" panose="02040503050406030204" pitchFamily="18" charset="0"/>
                          </a:rPr>
                          <m:t>𝑖</m:t>
                        </m:r>
                      </m:sub>
                      <m:sup>
                        <m:r>
                          <a:rPr lang="fr-FR" sz="1100" i="1">
                            <a:latin typeface="Cambria Math" panose="02040503050406030204" pitchFamily="18" charset="0"/>
                            <a:ea typeface="Cambria Math" panose="02040503050406030204" pitchFamily="18" charset="0"/>
                          </a:rPr>
                          <m:t>𝑚𝑎𝑥</m:t>
                        </m:r>
                      </m:sup>
                    </m:sSubSup>
                  </m:oMath>
                </a14:m>
                <a:r>
                  <a:rPr lang="fr-FR" sz="1100" dirty="0"/>
                  <a:t>) les coordonnées réelles de la </a:t>
                </a:r>
                <a:r>
                  <a:rPr lang="fr-FR" sz="1100" dirty="0" err="1"/>
                  <a:t>bounding</a:t>
                </a:r>
                <a:r>
                  <a:rPr lang="fr-FR" sz="1100" dirty="0"/>
                  <a:t> box de la voiture dans l’image i et N le nombre total d’images du </a:t>
                </a:r>
                <a:r>
                  <a:rPr lang="fr-FR" sz="1100" dirty="0" err="1"/>
                  <a:t>dataset</a:t>
                </a:r>
                <a:r>
                  <a:rPr lang="fr-FR" sz="1100" dirty="0"/>
                  <a:t> de test.</a:t>
                </a:r>
              </a:p>
              <a:p>
                <a:endParaRPr lang="fr-FR" sz="1100" dirty="0"/>
              </a:p>
              <a:p>
                <a:r>
                  <a:rPr lang="fr-FR" sz="1100" dirty="0"/>
                  <a:t>On notera </a:t>
                </a:r>
                <a14:m>
                  <m:oMath xmlns:m="http://schemas.openxmlformats.org/officeDocument/2006/math">
                    <m:acc>
                      <m:accPr>
                        <m:chr m:val="̂"/>
                        <m:ctrlPr>
                          <a:rPr lang="fr-FR" sz="1100" i="1" smtClean="0">
                            <a:latin typeface="Cambria Math" panose="02040503050406030204" pitchFamily="18" charset="0"/>
                          </a:rPr>
                        </m:ctrlPr>
                      </m:accPr>
                      <m:e>
                        <m:r>
                          <a:rPr lang="fr-FR" sz="1100" b="0" i="1" smtClean="0">
                            <a:latin typeface="Cambria Math" panose="02040503050406030204" pitchFamily="18" charset="0"/>
                          </a:rPr>
                          <m:t>𝑣</m:t>
                        </m:r>
                      </m:e>
                    </m:acc>
                  </m:oMath>
                </a14:m>
                <a:r>
                  <a:rPr lang="fr-FR" sz="1100" dirty="0"/>
                  <a:t>, la valeur prédite de la variable </a:t>
                </a:r>
                <a14:m>
                  <m:oMath xmlns:m="http://schemas.openxmlformats.org/officeDocument/2006/math">
                    <m:r>
                      <a:rPr lang="fr-FR" sz="1100" b="0" i="1" smtClean="0">
                        <a:latin typeface="Cambria Math" panose="02040503050406030204" pitchFamily="18" charset="0"/>
                      </a:rPr>
                      <m:t>𝑣</m:t>
                    </m:r>
                    <m:r>
                      <a:rPr lang="fr-FR" sz="1100" b="0" i="1" smtClean="0">
                        <a:latin typeface="Cambria Math" panose="02040503050406030204" pitchFamily="18" charset="0"/>
                        <a:ea typeface="Cambria Math" panose="02040503050406030204" pitchFamily="18" charset="0"/>
                      </a:rPr>
                      <m:t>∈</m:t>
                    </m:r>
                    <m:d>
                      <m:dPr>
                        <m:begChr m:val="{"/>
                        <m:endChr m:val="}"/>
                        <m:ctrlPr>
                          <a:rPr lang="fr-FR" sz="1100" b="0" i="1" smtClean="0">
                            <a:latin typeface="Cambria Math" panose="02040503050406030204" pitchFamily="18" charset="0"/>
                            <a:ea typeface="Cambria Math" panose="02040503050406030204" pitchFamily="18" charset="0"/>
                          </a:rPr>
                        </m:ctrlPr>
                      </m:dPr>
                      <m:e>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𝑥</m:t>
                            </m:r>
                          </m:e>
                          <m:sup>
                            <m:r>
                              <a:rPr lang="fr-FR" sz="1100" b="0" i="1" smtClean="0">
                                <a:latin typeface="Cambria Math" panose="02040503050406030204" pitchFamily="18" charset="0"/>
                                <a:ea typeface="Cambria Math" panose="02040503050406030204" pitchFamily="18" charset="0"/>
                              </a:rPr>
                              <m:t>𝑚𝑖𝑛</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𝑦</m:t>
                            </m:r>
                          </m:e>
                          <m:sup>
                            <m:r>
                              <a:rPr lang="fr-FR" sz="1100" b="0" i="1" smtClean="0">
                                <a:latin typeface="Cambria Math" panose="02040503050406030204" pitchFamily="18" charset="0"/>
                                <a:ea typeface="Cambria Math" panose="02040503050406030204" pitchFamily="18" charset="0"/>
                              </a:rPr>
                              <m:t>𝑚𝑖𝑛</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𝑥</m:t>
                            </m:r>
                          </m:e>
                          <m:sup>
                            <m:r>
                              <a:rPr lang="fr-FR" sz="1100" b="0" i="1" smtClean="0">
                                <a:latin typeface="Cambria Math" panose="02040503050406030204" pitchFamily="18" charset="0"/>
                                <a:ea typeface="Cambria Math" panose="02040503050406030204" pitchFamily="18" charset="0"/>
                              </a:rPr>
                              <m:t>𝑚𝑎𝑥</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𝑦</m:t>
                            </m:r>
                          </m:e>
                          <m:sup>
                            <m:r>
                              <a:rPr lang="fr-FR" sz="1100" b="0" i="1" smtClean="0">
                                <a:latin typeface="Cambria Math" panose="02040503050406030204" pitchFamily="18" charset="0"/>
                                <a:ea typeface="Cambria Math" panose="02040503050406030204" pitchFamily="18" charset="0"/>
                              </a:rPr>
                              <m:t>𝑚𝑎𝑥</m:t>
                            </m:r>
                          </m:sup>
                        </m:sSup>
                        <m:r>
                          <a:rPr lang="fr-FR" sz="1100" b="0" i="1" smtClean="0">
                            <a:latin typeface="Cambria Math" panose="02040503050406030204" pitchFamily="18" charset="0"/>
                            <a:ea typeface="Cambria Math" panose="02040503050406030204" pitchFamily="18" charset="0"/>
                          </a:rPr>
                          <m:t>,</m:t>
                        </m:r>
                        <m:sSup>
                          <m:sSupPr>
                            <m:ctrlPr>
                              <a:rPr lang="fr-FR" sz="1100" b="0" i="1" smtClean="0">
                                <a:latin typeface="Cambria Math" panose="02040503050406030204" pitchFamily="18" charset="0"/>
                                <a:ea typeface="Cambria Math" panose="02040503050406030204" pitchFamily="18" charset="0"/>
                              </a:rPr>
                            </m:ctrlPr>
                          </m:sSupPr>
                          <m:e>
                            <m:r>
                              <a:rPr lang="fr-FR" sz="1100" b="0" i="1" smtClean="0">
                                <a:latin typeface="Cambria Math" panose="02040503050406030204" pitchFamily="18" charset="0"/>
                                <a:ea typeface="Cambria Math" panose="02040503050406030204" pitchFamily="18" charset="0"/>
                              </a:rPr>
                              <m:t>𝑒</m:t>
                            </m:r>
                          </m:e>
                          <m:sup>
                            <m:r>
                              <a:rPr lang="fr-FR" sz="1100" b="0" i="1" smtClean="0">
                                <a:latin typeface="Cambria Math" panose="02040503050406030204" pitchFamily="18" charset="0"/>
                                <a:ea typeface="Cambria Math" panose="02040503050406030204" pitchFamily="18" charset="0"/>
                              </a:rPr>
                              <m:t>𝑐𝑎𝑟𝑏𝑜𝑛𝑒</m:t>
                            </m:r>
                          </m:sup>
                        </m:sSup>
                      </m:e>
                    </m:d>
                  </m:oMath>
                </a14:m>
                <a:r>
                  <a:rPr lang="fr-FR" sz="1100" dirty="0"/>
                  <a:t>.</a:t>
                </a:r>
              </a:p>
            </p:txBody>
          </p:sp>
        </mc:Choice>
        <mc:Fallback xmlns="">
          <p:sp>
            <p:nvSpPr>
              <p:cNvPr id="2" name="ZoneTexte 1">
                <a:extLst>
                  <a:ext uri="{FF2B5EF4-FFF2-40B4-BE49-F238E27FC236}">
                    <a16:creationId xmlns:a16="http://schemas.microsoft.com/office/drawing/2014/main" id="{23D7B51F-DDF8-054C-B7AC-E1F75A75C5A9}"/>
                  </a:ext>
                </a:extLst>
              </p:cNvPr>
              <p:cNvSpPr txBox="1">
                <a:spLocks noRot="1" noChangeAspect="1" noMove="1" noResize="1" noEditPoints="1" noAdjustHandles="1" noChangeArrowheads="1" noChangeShapeType="1" noTextEdit="1"/>
              </p:cNvSpPr>
              <p:nvPr/>
            </p:nvSpPr>
            <p:spPr>
              <a:xfrm>
                <a:off x="766135" y="1043621"/>
                <a:ext cx="6915599" cy="989310"/>
              </a:xfrm>
              <a:prstGeom prst="rect">
                <a:avLst/>
              </a:prstGeom>
              <a:blipFill>
                <a:blip r:embed="rId6"/>
                <a:stretch>
                  <a:fillRect r="-88" b="-617"/>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4" name="ZoneTexte 3">
                <a:extLst>
                  <a:ext uri="{FF2B5EF4-FFF2-40B4-BE49-F238E27FC236}">
                    <a16:creationId xmlns:a16="http://schemas.microsoft.com/office/drawing/2014/main" id="{17D5DDD1-9DBC-4E31-8EE5-F3438F76F105}"/>
                  </a:ext>
                </a:extLst>
              </p:cNvPr>
              <p:cNvSpPr txBox="1"/>
              <p:nvPr/>
            </p:nvSpPr>
            <p:spPr>
              <a:xfrm>
                <a:off x="475010" y="5614309"/>
                <a:ext cx="7310976" cy="553998"/>
              </a:xfrm>
              <a:prstGeom prst="rect">
                <a:avLst/>
              </a:prstGeom>
              <a:noFill/>
            </p:spPr>
            <p:txBody>
              <a:bodyPr wrap="none" rtlCol="0">
                <a:spAutoFit/>
              </a:bodyPr>
              <a:lstStyle/>
              <a:p>
                <a:r>
                  <a:rPr lang="fr-FR" sz="1200" b="1" dirty="0">
                    <a:highlight>
                      <a:srgbClr val="FF004D"/>
                    </a:highlight>
                  </a:rPr>
                  <a:t>Remarques :</a:t>
                </a:r>
              </a:p>
              <a:p>
                <a:pPr marL="171450" indent="-171450">
                  <a:buFont typeface="Arial" panose="020B0604020202020204" pitchFamily="34" charset="0"/>
                  <a:buChar char="•"/>
                </a:pPr>
                <a:r>
                  <a:rPr lang="fr-FR" sz="900" dirty="0"/>
                  <a:t>On accorde + de poids à </a:t>
                </a:r>
                <a14:m>
                  <m:oMath xmlns:m="http://schemas.openxmlformats.org/officeDocument/2006/math">
                    <m:r>
                      <a:rPr lang="fr-FR" sz="900" i="1" smtClean="0">
                        <a:latin typeface="Cambria Math" panose="02040503050406030204" pitchFamily="18" charset="0"/>
                      </a:rPr>
                      <m:t>𝐸𝑟𝑟𝑒𝑢</m:t>
                    </m:r>
                    <m:sSub>
                      <m:sSubPr>
                        <m:ctrlPr>
                          <a:rPr lang="fr-FR" sz="900" i="1">
                            <a:solidFill>
                              <a:srgbClr val="836967"/>
                            </a:solidFill>
                            <a:latin typeface="Cambria Math" panose="02040503050406030204" pitchFamily="18" charset="0"/>
                          </a:rPr>
                        </m:ctrlPr>
                      </m:sSubPr>
                      <m:e>
                        <m:r>
                          <a:rPr lang="fr-FR" sz="900" i="1">
                            <a:latin typeface="Cambria Math" panose="02040503050406030204" pitchFamily="18" charset="0"/>
                          </a:rPr>
                          <m:t>𝑟</m:t>
                        </m:r>
                      </m:e>
                      <m:sub>
                        <m:r>
                          <a:rPr lang="fr-FR" sz="900" i="1">
                            <a:latin typeface="Cambria Math" panose="02040503050406030204" pitchFamily="18" charset="0"/>
                          </a:rPr>
                          <m:t>𝑙𝑜𝑐</m:t>
                        </m:r>
                      </m:sub>
                    </m:sSub>
                  </m:oMath>
                </a14:m>
                <a:r>
                  <a:rPr lang="fr-FR" sz="900" dirty="0"/>
                  <a:t> car, en moyenne, ne peut pas détecter une voiture a un plus grand impact que se trompe de modèle.</a:t>
                </a:r>
              </a:p>
              <a:p>
                <a:pPr marL="171450" indent="-171450">
                  <a:buFont typeface="Arial" panose="020B0604020202020204" pitchFamily="34" charset="0"/>
                  <a:buChar char="•"/>
                </a:pPr>
                <a:r>
                  <a:rPr lang="fr-FR" sz="900" dirty="0"/>
                  <a:t>Si l’image ne contient pas de voiture, le vecteur attendu est </a:t>
                </a:r>
                <a:r>
                  <a:rPr lang="fr-FR" sz="900" b="1" dirty="0"/>
                  <a:t>[0,0,0,0,0] </a:t>
                </a:r>
                <a:r>
                  <a:rPr lang="fr-FR" sz="900" dirty="0"/>
                  <a:t>si non, Erreur de </a:t>
                </a:r>
                <a:r>
                  <a:rPr lang="fr-FR" sz="900" dirty="0" err="1"/>
                  <a:t>loc</a:t>
                </a:r>
                <a:r>
                  <a:rPr lang="fr-FR" sz="900" dirty="0"/>
                  <a:t> et le MAPE sont égale à 1</a:t>
                </a:r>
                <a:endParaRPr lang="fr-FR" sz="1200" b="1" dirty="0"/>
              </a:p>
            </p:txBody>
          </p:sp>
        </mc:Choice>
        <mc:Fallback xmlns="">
          <p:sp>
            <p:nvSpPr>
              <p:cNvPr id="4" name="ZoneTexte 3">
                <a:extLst>
                  <a:ext uri="{FF2B5EF4-FFF2-40B4-BE49-F238E27FC236}">
                    <a16:creationId xmlns:a16="http://schemas.microsoft.com/office/drawing/2014/main" id="{17D5DDD1-9DBC-4E31-8EE5-F3438F76F105}"/>
                  </a:ext>
                </a:extLst>
              </p:cNvPr>
              <p:cNvSpPr txBox="1">
                <a:spLocks noRot="1" noChangeAspect="1" noMove="1" noResize="1" noEditPoints="1" noAdjustHandles="1" noChangeArrowheads="1" noChangeShapeType="1" noTextEdit="1"/>
              </p:cNvSpPr>
              <p:nvPr/>
            </p:nvSpPr>
            <p:spPr>
              <a:xfrm>
                <a:off x="475010" y="5614309"/>
                <a:ext cx="7310976" cy="553998"/>
              </a:xfrm>
              <a:prstGeom prst="rect">
                <a:avLst/>
              </a:prstGeom>
              <a:blipFill>
                <a:blip r:embed="rId7"/>
                <a:stretch>
                  <a:fillRect b="-4545"/>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42" name="TextBox 63">
                <a:extLst>
                  <a:ext uri="{FF2B5EF4-FFF2-40B4-BE49-F238E27FC236}">
                    <a16:creationId xmlns:a16="http://schemas.microsoft.com/office/drawing/2014/main" id="{9FE6976F-4A85-451D-8354-3860FE03FCF7}"/>
                  </a:ext>
                </a:extLst>
              </p:cNvPr>
              <p:cNvSpPr txBox="1"/>
              <p:nvPr/>
            </p:nvSpPr>
            <p:spPr>
              <a:xfrm>
                <a:off x="766135" y="2213972"/>
                <a:ext cx="5479974" cy="489173"/>
              </a:xfrm>
              <a:prstGeom prst="rect">
                <a:avLst/>
              </a:prstGeom>
              <a:noFill/>
            </p:spPr>
            <p:txBody>
              <a:bodyPr wrap="square" rtlCol="0">
                <a:spAutoFit/>
              </a:bodyPr>
              <a:lstStyle/>
              <a:p>
                <a:pPr>
                  <a:defRPr/>
                </a:pPr>
                <a:r>
                  <a:rPr lang="fr-FR" sz="1200" b="1" dirty="0">
                    <a:latin typeface="Open Sans" panose="020B0606030504020204" pitchFamily="34" charset="0"/>
                  </a:rPr>
                  <a:t>Output pour l’image i :</a:t>
                </a:r>
                <a:r>
                  <a:rPr lang="fr-FR" sz="1200" dirty="0">
                    <a:latin typeface="Open Sans" panose="020B0606030504020204" pitchFamily="34" charset="0"/>
                  </a:rPr>
                  <a:t> </a:t>
                </a:r>
                <a14:m>
                  <m:oMath xmlns:m="http://schemas.openxmlformats.org/officeDocument/2006/math">
                    <m:d>
                      <m:dPr>
                        <m:begChr m:val="["/>
                        <m:endChr m:val="]"/>
                        <m:ctrlPr>
                          <a:rPr lang="fr-FR" sz="1200" b="0" i="1" smtClean="0">
                            <a:latin typeface="Cambria Math" panose="02040503050406030204" pitchFamily="18" charset="0"/>
                          </a:rPr>
                        </m:ctrlPr>
                      </m:dPr>
                      <m:e>
                        <m:sSubSup>
                          <m:sSubSupPr>
                            <m:ctrlPr>
                              <a:rPr lang="fr-FR" sz="1200" b="0" i="1" smtClean="0">
                                <a:latin typeface="Cambria Math" panose="02040503050406030204" pitchFamily="18" charset="0"/>
                              </a:rPr>
                            </m:ctrlPr>
                          </m:sSubSupPr>
                          <m:e>
                            <m:acc>
                              <m:accPr>
                                <m:chr m:val="̂"/>
                                <m:ctrlPr>
                                  <a:rPr lang="fr-FR" sz="1200" b="0" i="1" smtClean="0">
                                    <a:latin typeface="Cambria Math" panose="02040503050406030204" pitchFamily="18" charset="0"/>
                                  </a:rPr>
                                </m:ctrlPr>
                              </m:accPr>
                              <m:e>
                                <m:r>
                                  <a:rPr lang="fr-FR" sz="1200" b="0" i="1" smtClean="0">
                                    <a:latin typeface="Cambria Math" panose="02040503050406030204" pitchFamily="18" charset="0"/>
                                  </a:rPr>
                                  <m:t>𝑥</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𝑖𝑛</m:t>
                            </m:r>
                          </m:sup>
                        </m:sSubSup>
                        <m:r>
                          <a:rPr lang="fr-FR" sz="1200" b="0" i="1"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b="0" i="1" smtClean="0">
                                    <a:latin typeface="Cambria Math" panose="02040503050406030204" pitchFamily="18" charset="0"/>
                                  </a:rPr>
                                  <m:t>𝑦</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𝑖𝑛</m:t>
                            </m:r>
                          </m:sup>
                        </m:sSubSup>
                        <m:r>
                          <a:rPr lang="fr-FR" sz="1200" b="1" i="0"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i="1">
                                    <a:latin typeface="Cambria Math" panose="02040503050406030204" pitchFamily="18" charset="0"/>
                                  </a:rPr>
                                  <m:t>𝑥</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𝑎𝑥</m:t>
                            </m:r>
                          </m:sup>
                        </m:sSubSup>
                        <m:r>
                          <a:rPr lang="fr-FR" sz="1200" b="0" i="1"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b="0" i="1" smtClean="0">
                                    <a:latin typeface="Cambria Math" panose="02040503050406030204" pitchFamily="18" charset="0"/>
                                  </a:rPr>
                                  <m:t>𝑦</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𝑚𝑎𝑥</m:t>
                            </m:r>
                          </m:sup>
                        </m:sSubSup>
                        <m:r>
                          <a:rPr lang="fr-FR" sz="1200" b="0" i="1" smtClean="0">
                            <a:latin typeface="Cambria Math" panose="02040503050406030204" pitchFamily="18" charset="0"/>
                          </a:rPr>
                          <m:t>,</m:t>
                        </m:r>
                        <m:sSubSup>
                          <m:sSubSupPr>
                            <m:ctrlPr>
                              <a:rPr lang="fr-FR" sz="1200" b="0" i="1" smtClean="0">
                                <a:latin typeface="Cambria Math" panose="02040503050406030204" pitchFamily="18" charset="0"/>
                              </a:rPr>
                            </m:ctrlPr>
                          </m:sSubSupPr>
                          <m:e>
                            <m:acc>
                              <m:accPr>
                                <m:chr m:val="̂"/>
                                <m:ctrlPr>
                                  <a:rPr lang="fr-FR" sz="1200" i="1">
                                    <a:latin typeface="Cambria Math" panose="02040503050406030204" pitchFamily="18" charset="0"/>
                                  </a:rPr>
                                </m:ctrlPr>
                              </m:accPr>
                              <m:e>
                                <m:r>
                                  <a:rPr lang="fr-FR" sz="1200" b="0" i="1" smtClean="0">
                                    <a:latin typeface="Cambria Math" panose="02040503050406030204" pitchFamily="18" charset="0"/>
                                  </a:rPr>
                                  <m:t>𝑒</m:t>
                                </m:r>
                              </m:e>
                            </m:acc>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𝑐𝑎𝑟𝑏𝑜𝑛𝑒</m:t>
                            </m:r>
                          </m:sup>
                        </m:sSubSup>
                      </m:e>
                    </m:d>
                  </m:oMath>
                </a14:m>
                <a:r>
                  <a:rPr lang="en-GB" sz="1200" dirty="0">
                    <a:latin typeface="Noto Sans" panose="020B0502040504020204" pitchFamily="34"/>
                    <a:ea typeface="Noto Sans" panose="020B0502040504020204" pitchFamily="34"/>
                    <a:cs typeface="Noto Sans" panose="020B0502040504020204" pitchFamily="34"/>
                  </a:rPr>
                  <a:t> car il y a </a:t>
                </a:r>
                <a:r>
                  <a:rPr lang="en-GB" sz="1200" dirty="0" err="1">
                    <a:latin typeface="Noto Sans" panose="020B0502040504020204" pitchFamily="34"/>
                    <a:ea typeface="Noto Sans" panose="020B0502040504020204" pitchFamily="34"/>
                    <a:cs typeface="Noto Sans" panose="020B0502040504020204" pitchFamily="34"/>
                  </a:rPr>
                  <a:t>qu’un</a:t>
                </a:r>
                <a:r>
                  <a:rPr lang="en-GB" sz="1200" dirty="0">
                    <a:latin typeface="Noto Sans" panose="020B0502040504020204" pitchFamily="34"/>
                    <a:ea typeface="Noto Sans" panose="020B0502040504020204" pitchFamily="34"/>
                    <a:cs typeface="Noto Sans" panose="020B0502040504020204" pitchFamily="34"/>
                  </a:rPr>
                  <a:t> </a:t>
                </a:r>
                <a:r>
                  <a:rPr lang="en-GB" sz="1200" dirty="0" err="1">
                    <a:latin typeface="Noto Sans" panose="020B0502040504020204" pitchFamily="34"/>
                    <a:ea typeface="Noto Sans" panose="020B0502040504020204" pitchFamily="34"/>
                    <a:cs typeface="Noto Sans" panose="020B0502040504020204" pitchFamily="34"/>
                  </a:rPr>
                  <a:t>seul</a:t>
                </a:r>
                <a:r>
                  <a:rPr lang="en-GB" sz="1200" dirty="0">
                    <a:latin typeface="Noto Sans" panose="020B0502040504020204" pitchFamily="34"/>
                    <a:ea typeface="Noto Sans" panose="020B0502040504020204" pitchFamily="34"/>
                    <a:cs typeface="Noto Sans" panose="020B0502040504020204" pitchFamily="34"/>
                  </a:rPr>
                  <a:t> </a:t>
                </a:r>
                <a:r>
                  <a:rPr lang="en-GB" sz="1200" dirty="0" err="1">
                    <a:latin typeface="Noto Sans" panose="020B0502040504020204" pitchFamily="34"/>
                    <a:ea typeface="Noto Sans" panose="020B0502040504020204" pitchFamily="34"/>
                    <a:cs typeface="Noto Sans" panose="020B0502040504020204" pitchFamily="34"/>
                  </a:rPr>
                  <a:t>objet</a:t>
                </a:r>
                <a:r>
                  <a:rPr lang="en-GB" sz="1200" dirty="0">
                    <a:latin typeface="Noto Sans" panose="020B0502040504020204" pitchFamily="34"/>
                    <a:ea typeface="Noto Sans" panose="020B0502040504020204" pitchFamily="34"/>
                    <a:cs typeface="Noto Sans" panose="020B0502040504020204" pitchFamily="34"/>
                  </a:rPr>
                  <a:t> par image.</a:t>
                </a:r>
                <a:endParaRPr lang="en-GB" dirty="0">
                  <a:latin typeface="Noto Sans" panose="020B0502040504020204" pitchFamily="34"/>
                  <a:ea typeface="Noto Sans" panose="020B0502040504020204" pitchFamily="34"/>
                  <a:cs typeface="Noto Sans" panose="020B0502040504020204" pitchFamily="34"/>
                </a:endParaRPr>
              </a:p>
            </p:txBody>
          </p:sp>
        </mc:Choice>
        <mc:Fallback xmlns="">
          <p:sp>
            <p:nvSpPr>
              <p:cNvPr id="42" name="TextBox 63">
                <a:extLst>
                  <a:ext uri="{FF2B5EF4-FFF2-40B4-BE49-F238E27FC236}">
                    <a16:creationId xmlns:a16="http://schemas.microsoft.com/office/drawing/2014/main" id="{9FE6976F-4A85-451D-8354-3860FE03FCF7}"/>
                  </a:ext>
                </a:extLst>
              </p:cNvPr>
              <p:cNvSpPr txBox="1">
                <a:spLocks noRot="1" noChangeAspect="1" noMove="1" noResize="1" noEditPoints="1" noAdjustHandles="1" noChangeArrowheads="1" noChangeShapeType="1" noTextEdit="1"/>
              </p:cNvSpPr>
              <p:nvPr/>
            </p:nvSpPr>
            <p:spPr>
              <a:xfrm>
                <a:off x="766135" y="2213972"/>
                <a:ext cx="5479974" cy="489173"/>
              </a:xfrm>
              <a:prstGeom prst="rect">
                <a:avLst/>
              </a:prstGeom>
              <a:blipFill>
                <a:blip r:embed="rId8"/>
                <a:stretch>
                  <a:fillRect b="-10256"/>
                </a:stretch>
              </a:blipFill>
            </p:spPr>
            <p:txBody>
              <a:bodyPr/>
              <a:lstStyle/>
              <a:p>
                <a:r>
                  <a:rPr lang="fr-FR">
                    <a:noFill/>
                  </a:rPr>
                  <a:t> </a:t>
                </a:r>
              </a:p>
            </p:txBody>
          </p:sp>
        </mc:Fallback>
      </mc:AlternateContent>
      <p:pic>
        <p:nvPicPr>
          <p:cNvPr id="5" name="Image 4">
            <a:extLst>
              <a:ext uri="{FF2B5EF4-FFF2-40B4-BE49-F238E27FC236}">
                <a16:creationId xmlns:a16="http://schemas.microsoft.com/office/drawing/2014/main" id="{25171034-7A7E-40B9-B11E-BE529AA801C8}"/>
              </a:ext>
            </a:extLst>
          </p:cNvPr>
          <p:cNvPicPr>
            <a:picLocks noChangeAspect="1"/>
          </p:cNvPicPr>
          <p:nvPr/>
        </p:nvPicPr>
        <p:blipFill>
          <a:blip r:embed="rId9"/>
          <a:stretch>
            <a:fillRect/>
          </a:stretch>
        </p:blipFill>
        <p:spPr>
          <a:xfrm>
            <a:off x="5699039" y="2786428"/>
            <a:ext cx="1193401" cy="1205194"/>
          </a:xfrm>
          <a:prstGeom prst="rect">
            <a:avLst/>
          </a:prstGeom>
        </p:spPr>
      </p:pic>
    </p:spTree>
    <p:extLst>
      <p:ext uri="{BB962C8B-B14F-4D97-AF65-F5344CB8AC3E}">
        <p14:creationId xmlns:p14="http://schemas.microsoft.com/office/powerpoint/2010/main" val="41303230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3167123"/>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4203949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Notre </a:t>
            </a:r>
            <a:r>
              <a:rPr lang="en-US" sz="2400" dirty="0" err="1">
                <a:latin typeface="Arial" panose="020B0604020202020204" pitchFamily="34" charset="0"/>
                <a:cs typeface="Arial" panose="020B0604020202020204" pitchFamily="34" charset="0"/>
              </a:rPr>
              <a:t>approch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en</a:t>
            </a:r>
            <a:r>
              <a:rPr lang="en-US" sz="2400" dirty="0">
                <a:latin typeface="Arial" panose="020B0604020202020204" pitchFamily="34" charset="0"/>
                <a:cs typeface="Arial" panose="020B0604020202020204" pitchFamily="34" charset="0"/>
              </a:rPr>
              <a:t> 3 étapes </a:t>
            </a:r>
          </a:p>
        </p:txBody>
      </p:sp>
      <p:grpSp>
        <p:nvGrpSpPr>
          <p:cNvPr id="23" name="Group 26">
            <a:extLst>
              <a:ext uri="{FF2B5EF4-FFF2-40B4-BE49-F238E27FC236}">
                <a16:creationId xmlns:a16="http://schemas.microsoft.com/office/drawing/2014/main" id="{BCFEA149-132F-CB4F-838C-80540002159C}"/>
              </a:ext>
            </a:extLst>
          </p:cNvPr>
          <p:cNvGrpSpPr/>
          <p:nvPr/>
        </p:nvGrpSpPr>
        <p:grpSpPr>
          <a:xfrm>
            <a:off x="578834" y="1873337"/>
            <a:ext cx="2614876" cy="3042917"/>
            <a:chOff x="4301450" y="1345460"/>
            <a:chExt cx="3706131" cy="4352482"/>
          </a:xfrm>
        </p:grpSpPr>
        <p:sp>
          <p:nvSpPr>
            <p:cNvPr id="24" name="Freeform 6">
              <a:extLst>
                <a:ext uri="{FF2B5EF4-FFF2-40B4-BE49-F238E27FC236}">
                  <a16:creationId xmlns:a16="http://schemas.microsoft.com/office/drawing/2014/main" id="{E2B484FD-2A06-FA44-B13D-DC8FA3C5E7D7}"/>
                </a:ext>
              </a:extLst>
            </p:cNvPr>
            <p:cNvSpPr>
              <a:spLocks noEditPoints="1"/>
            </p:cNvSpPr>
            <p:nvPr/>
          </p:nvSpPr>
          <p:spPr bwMode="auto">
            <a:xfrm>
              <a:off x="5237576" y="2150644"/>
              <a:ext cx="1805748" cy="3547298"/>
            </a:xfrm>
            <a:custGeom>
              <a:avLst/>
              <a:gdLst>
                <a:gd name="T0" fmla="*/ 503 w 2130"/>
                <a:gd name="T1" fmla="*/ 2507 h 4055"/>
                <a:gd name="T2" fmla="*/ 387 w 2130"/>
                <a:gd name="T3" fmla="*/ 2072 h 4055"/>
                <a:gd name="T4" fmla="*/ 172 w 2130"/>
                <a:gd name="T5" fmla="*/ 1655 h 4055"/>
                <a:gd name="T6" fmla="*/ 35 w 2130"/>
                <a:gd name="T7" fmla="*/ 1291 h 4055"/>
                <a:gd name="T8" fmla="*/ 24 w 2130"/>
                <a:gd name="T9" fmla="*/ 824 h 4055"/>
                <a:gd name="T10" fmla="*/ 81 w 2130"/>
                <a:gd name="T11" fmla="*/ 647 h 4055"/>
                <a:gd name="T12" fmla="*/ 341 w 2130"/>
                <a:gd name="T13" fmla="*/ 262 h 4055"/>
                <a:gd name="T14" fmla="*/ 640 w 2130"/>
                <a:gd name="T15" fmla="*/ 80 h 4055"/>
                <a:gd name="T16" fmla="*/ 1219 w 2130"/>
                <a:gd name="T17" fmla="*/ 12 h 4055"/>
                <a:gd name="T18" fmla="*/ 1728 w 2130"/>
                <a:gd name="T19" fmla="*/ 189 h 4055"/>
                <a:gd name="T20" fmla="*/ 2056 w 2130"/>
                <a:gd name="T21" fmla="*/ 625 h 4055"/>
                <a:gd name="T22" fmla="*/ 2104 w 2130"/>
                <a:gd name="T23" fmla="*/ 1201 h 4055"/>
                <a:gd name="T24" fmla="*/ 1946 w 2130"/>
                <a:gd name="T25" fmla="*/ 1616 h 4055"/>
                <a:gd name="T26" fmla="*/ 1702 w 2130"/>
                <a:gd name="T27" fmla="*/ 2039 h 4055"/>
                <a:gd name="T28" fmla="*/ 1582 w 2130"/>
                <a:gd name="T29" fmla="*/ 2376 h 4055"/>
                <a:gd name="T30" fmla="*/ 1567 w 2130"/>
                <a:gd name="T31" fmla="*/ 3175 h 4055"/>
                <a:gd name="T32" fmla="*/ 1436 w 2130"/>
                <a:gd name="T33" fmla="*/ 3442 h 4055"/>
                <a:gd name="T34" fmla="*/ 1179 w 2130"/>
                <a:gd name="T35" fmla="*/ 3859 h 4055"/>
                <a:gd name="T36" fmla="*/ 979 w 2130"/>
                <a:gd name="T37" fmla="*/ 4016 h 4055"/>
                <a:gd name="T38" fmla="*/ 694 w 2130"/>
                <a:gd name="T39" fmla="*/ 3546 h 4055"/>
                <a:gd name="T40" fmla="*/ 519 w 2130"/>
                <a:gd name="T41" fmla="*/ 3253 h 4055"/>
                <a:gd name="T42" fmla="*/ 505 w 2130"/>
                <a:gd name="T43" fmla="*/ 2850 h 4055"/>
                <a:gd name="T44" fmla="*/ 1035 w 2130"/>
                <a:gd name="T45" fmla="*/ 2418 h 4055"/>
                <a:gd name="T46" fmla="*/ 1434 w 2130"/>
                <a:gd name="T47" fmla="*/ 2385 h 4055"/>
                <a:gd name="T48" fmla="*/ 1571 w 2130"/>
                <a:gd name="T49" fmla="*/ 1968 h 4055"/>
                <a:gd name="T50" fmla="*/ 1843 w 2130"/>
                <a:gd name="T51" fmla="*/ 1492 h 4055"/>
                <a:gd name="T52" fmla="*/ 1969 w 2130"/>
                <a:gd name="T53" fmla="*/ 1118 h 4055"/>
                <a:gd name="T54" fmla="*/ 1788 w 2130"/>
                <a:gd name="T55" fmla="*/ 444 h 4055"/>
                <a:gd name="T56" fmla="*/ 1302 w 2130"/>
                <a:gd name="T57" fmla="*/ 172 h 4055"/>
                <a:gd name="T58" fmla="*/ 719 w 2130"/>
                <a:gd name="T59" fmla="*/ 208 h 4055"/>
                <a:gd name="T60" fmla="*/ 244 w 2130"/>
                <a:gd name="T61" fmla="*/ 633 h 4055"/>
                <a:gd name="T62" fmla="*/ 152 w 2130"/>
                <a:gd name="T63" fmla="*/ 1033 h 4055"/>
                <a:gd name="T64" fmla="*/ 247 w 2130"/>
                <a:gd name="T65" fmla="*/ 1466 h 4055"/>
                <a:gd name="T66" fmla="*/ 480 w 2130"/>
                <a:gd name="T67" fmla="*/ 1917 h 4055"/>
                <a:gd name="T68" fmla="*/ 638 w 2130"/>
                <a:gd name="T69" fmla="*/ 2389 h 4055"/>
                <a:gd name="T70" fmla="*/ 1035 w 2130"/>
                <a:gd name="T71" fmla="*/ 2418 h 4055"/>
                <a:gd name="T72" fmla="*/ 1036 w 2130"/>
                <a:gd name="T73" fmla="*/ 3269 h 4055"/>
                <a:gd name="T74" fmla="*/ 671 w 2130"/>
                <a:gd name="T75" fmla="*/ 3276 h 4055"/>
                <a:gd name="T76" fmla="*/ 714 w 2130"/>
                <a:gd name="T77" fmla="*/ 3355 h 4055"/>
                <a:gd name="T78" fmla="*/ 900 w 2130"/>
                <a:gd name="T79" fmla="*/ 3629 h 4055"/>
                <a:gd name="T80" fmla="*/ 1195 w 2130"/>
                <a:gd name="T81" fmla="*/ 3612 h 4055"/>
                <a:gd name="T82" fmla="*/ 1390 w 2130"/>
                <a:gd name="T83" fmla="*/ 3297 h 4055"/>
                <a:gd name="T84" fmla="*/ 1376 w 2130"/>
                <a:gd name="T85" fmla="*/ 3269 h 4055"/>
                <a:gd name="T86" fmla="*/ 1433 w 2130"/>
                <a:gd name="T87" fmla="*/ 2860 h 4055"/>
                <a:gd name="T88" fmla="*/ 1408 w 2130"/>
                <a:gd name="T89" fmla="*/ 2565 h 4055"/>
                <a:gd name="T90" fmla="*/ 1245 w 2130"/>
                <a:gd name="T91" fmla="*/ 2589 h 4055"/>
                <a:gd name="T92" fmla="*/ 1271 w 2130"/>
                <a:gd name="T93" fmla="*/ 3157 h 4055"/>
                <a:gd name="T94" fmla="*/ 1433 w 2130"/>
                <a:gd name="T95" fmla="*/ 3126 h 4055"/>
                <a:gd name="T96" fmla="*/ 810 w 2130"/>
                <a:gd name="T97" fmla="*/ 2861 h 4055"/>
                <a:gd name="T98" fmla="*/ 788 w 2130"/>
                <a:gd name="T99" fmla="*/ 2566 h 4055"/>
                <a:gd name="T100" fmla="*/ 638 w 2130"/>
                <a:gd name="T101" fmla="*/ 2589 h 4055"/>
                <a:gd name="T102" fmla="*/ 663 w 2130"/>
                <a:gd name="T103" fmla="*/ 3157 h 4055"/>
                <a:gd name="T104" fmla="*/ 810 w 2130"/>
                <a:gd name="T105" fmla="*/ 3125 h 4055"/>
                <a:gd name="T106" fmla="*/ 945 w 2130"/>
                <a:gd name="T107" fmla="*/ 2861 h 4055"/>
                <a:gd name="T108" fmla="*/ 972 w 2130"/>
                <a:gd name="T109" fmla="*/ 3157 h 4055"/>
                <a:gd name="T110" fmla="*/ 1110 w 2130"/>
                <a:gd name="T111" fmla="*/ 3126 h 4055"/>
                <a:gd name="T112" fmla="*/ 1111 w 2130"/>
                <a:gd name="T113" fmla="*/ 2596 h 4055"/>
                <a:gd name="T114" fmla="*/ 970 w 2130"/>
                <a:gd name="T115" fmla="*/ 2565 h 4055"/>
                <a:gd name="T116" fmla="*/ 945 w 2130"/>
                <a:gd name="T117" fmla="*/ 2861 h 4055"/>
                <a:gd name="T118" fmla="*/ 970 w 2130"/>
                <a:gd name="T119" fmla="*/ 3741 h 4055"/>
                <a:gd name="T120" fmla="*/ 1020 w 2130"/>
                <a:gd name="T121" fmla="*/ 3861 h 4055"/>
                <a:gd name="T122" fmla="*/ 1101 w 2130"/>
                <a:gd name="T123" fmla="*/ 3764 h 4055"/>
                <a:gd name="T124" fmla="*/ 1031 w 2130"/>
                <a:gd name="T125" fmla="*/ 3741 h 4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0" h="4055">
                  <a:moveTo>
                    <a:pt x="504" y="2850"/>
                  </a:moveTo>
                  <a:cubicBezTo>
                    <a:pt x="504" y="2736"/>
                    <a:pt x="507" y="2621"/>
                    <a:pt x="503" y="2507"/>
                  </a:cubicBezTo>
                  <a:cubicBezTo>
                    <a:pt x="500" y="2424"/>
                    <a:pt x="485" y="2343"/>
                    <a:pt x="457" y="2264"/>
                  </a:cubicBezTo>
                  <a:cubicBezTo>
                    <a:pt x="434" y="2200"/>
                    <a:pt x="414" y="2134"/>
                    <a:pt x="387" y="2072"/>
                  </a:cubicBezTo>
                  <a:cubicBezTo>
                    <a:pt x="355" y="2000"/>
                    <a:pt x="316" y="1930"/>
                    <a:pt x="280" y="1860"/>
                  </a:cubicBezTo>
                  <a:cubicBezTo>
                    <a:pt x="244" y="1791"/>
                    <a:pt x="206" y="1724"/>
                    <a:pt x="172" y="1655"/>
                  </a:cubicBezTo>
                  <a:cubicBezTo>
                    <a:pt x="140" y="1590"/>
                    <a:pt x="110" y="1524"/>
                    <a:pt x="84" y="1457"/>
                  </a:cubicBezTo>
                  <a:cubicBezTo>
                    <a:pt x="63" y="1403"/>
                    <a:pt x="49" y="1347"/>
                    <a:pt x="35" y="1291"/>
                  </a:cubicBezTo>
                  <a:cubicBezTo>
                    <a:pt x="13" y="1200"/>
                    <a:pt x="0" y="1107"/>
                    <a:pt x="4" y="1012"/>
                  </a:cubicBezTo>
                  <a:cubicBezTo>
                    <a:pt x="7" y="949"/>
                    <a:pt x="14" y="886"/>
                    <a:pt x="24" y="824"/>
                  </a:cubicBezTo>
                  <a:cubicBezTo>
                    <a:pt x="33" y="775"/>
                    <a:pt x="49" y="728"/>
                    <a:pt x="63" y="680"/>
                  </a:cubicBezTo>
                  <a:cubicBezTo>
                    <a:pt x="67" y="668"/>
                    <a:pt x="78" y="659"/>
                    <a:pt x="81" y="647"/>
                  </a:cubicBezTo>
                  <a:cubicBezTo>
                    <a:pt x="103" y="575"/>
                    <a:pt x="138" y="509"/>
                    <a:pt x="179" y="447"/>
                  </a:cubicBezTo>
                  <a:cubicBezTo>
                    <a:pt x="225" y="378"/>
                    <a:pt x="277" y="314"/>
                    <a:pt x="341" y="262"/>
                  </a:cubicBezTo>
                  <a:cubicBezTo>
                    <a:pt x="389" y="222"/>
                    <a:pt x="439" y="184"/>
                    <a:pt x="492" y="152"/>
                  </a:cubicBezTo>
                  <a:cubicBezTo>
                    <a:pt x="538" y="123"/>
                    <a:pt x="589" y="101"/>
                    <a:pt x="640" y="80"/>
                  </a:cubicBezTo>
                  <a:cubicBezTo>
                    <a:pt x="720" y="48"/>
                    <a:pt x="803" y="29"/>
                    <a:pt x="888" y="17"/>
                  </a:cubicBezTo>
                  <a:cubicBezTo>
                    <a:pt x="998" y="0"/>
                    <a:pt x="1109" y="4"/>
                    <a:pt x="1219" y="12"/>
                  </a:cubicBezTo>
                  <a:cubicBezTo>
                    <a:pt x="1290" y="17"/>
                    <a:pt x="1361" y="32"/>
                    <a:pt x="1430" y="51"/>
                  </a:cubicBezTo>
                  <a:cubicBezTo>
                    <a:pt x="1537" y="80"/>
                    <a:pt x="1637" y="125"/>
                    <a:pt x="1728" y="189"/>
                  </a:cubicBezTo>
                  <a:cubicBezTo>
                    <a:pt x="1814" y="249"/>
                    <a:pt x="1886" y="322"/>
                    <a:pt x="1945" y="408"/>
                  </a:cubicBezTo>
                  <a:cubicBezTo>
                    <a:pt x="1991" y="475"/>
                    <a:pt x="2028" y="548"/>
                    <a:pt x="2056" y="625"/>
                  </a:cubicBezTo>
                  <a:cubicBezTo>
                    <a:pt x="2088" y="715"/>
                    <a:pt x="2105" y="807"/>
                    <a:pt x="2117" y="901"/>
                  </a:cubicBezTo>
                  <a:cubicBezTo>
                    <a:pt x="2130" y="1002"/>
                    <a:pt x="2121" y="1102"/>
                    <a:pt x="2104" y="1201"/>
                  </a:cubicBezTo>
                  <a:cubicBezTo>
                    <a:pt x="2093" y="1262"/>
                    <a:pt x="2075" y="1322"/>
                    <a:pt x="2053" y="1379"/>
                  </a:cubicBezTo>
                  <a:cubicBezTo>
                    <a:pt x="2021" y="1459"/>
                    <a:pt x="1986" y="1539"/>
                    <a:pt x="1946" y="1616"/>
                  </a:cubicBezTo>
                  <a:cubicBezTo>
                    <a:pt x="1907" y="1691"/>
                    <a:pt x="1860" y="1762"/>
                    <a:pt x="1818" y="1835"/>
                  </a:cubicBezTo>
                  <a:cubicBezTo>
                    <a:pt x="1779" y="1903"/>
                    <a:pt x="1738" y="1969"/>
                    <a:pt x="1702" y="2039"/>
                  </a:cubicBezTo>
                  <a:cubicBezTo>
                    <a:pt x="1675" y="2091"/>
                    <a:pt x="1653" y="2146"/>
                    <a:pt x="1633" y="2201"/>
                  </a:cubicBezTo>
                  <a:cubicBezTo>
                    <a:pt x="1613" y="2258"/>
                    <a:pt x="1595" y="2317"/>
                    <a:pt x="1582" y="2376"/>
                  </a:cubicBezTo>
                  <a:cubicBezTo>
                    <a:pt x="1572" y="2424"/>
                    <a:pt x="1567" y="2473"/>
                    <a:pt x="1567" y="2521"/>
                  </a:cubicBezTo>
                  <a:cubicBezTo>
                    <a:pt x="1566" y="2739"/>
                    <a:pt x="1565" y="2957"/>
                    <a:pt x="1567" y="3175"/>
                  </a:cubicBezTo>
                  <a:cubicBezTo>
                    <a:pt x="1568" y="3220"/>
                    <a:pt x="1552" y="3256"/>
                    <a:pt x="1529" y="3292"/>
                  </a:cubicBezTo>
                  <a:cubicBezTo>
                    <a:pt x="1498" y="3341"/>
                    <a:pt x="1467" y="3392"/>
                    <a:pt x="1436" y="3442"/>
                  </a:cubicBezTo>
                  <a:cubicBezTo>
                    <a:pt x="1407" y="3490"/>
                    <a:pt x="1377" y="3537"/>
                    <a:pt x="1347" y="3585"/>
                  </a:cubicBezTo>
                  <a:cubicBezTo>
                    <a:pt x="1291" y="3676"/>
                    <a:pt x="1235" y="3768"/>
                    <a:pt x="1179" y="3859"/>
                  </a:cubicBezTo>
                  <a:cubicBezTo>
                    <a:pt x="1146" y="3911"/>
                    <a:pt x="1113" y="3963"/>
                    <a:pt x="1081" y="4015"/>
                  </a:cubicBezTo>
                  <a:cubicBezTo>
                    <a:pt x="1057" y="4054"/>
                    <a:pt x="1003" y="4055"/>
                    <a:pt x="979" y="4016"/>
                  </a:cubicBezTo>
                  <a:cubicBezTo>
                    <a:pt x="927" y="3930"/>
                    <a:pt x="876" y="3844"/>
                    <a:pt x="823" y="3758"/>
                  </a:cubicBezTo>
                  <a:cubicBezTo>
                    <a:pt x="781" y="3687"/>
                    <a:pt x="737" y="3617"/>
                    <a:pt x="694" y="3546"/>
                  </a:cubicBezTo>
                  <a:cubicBezTo>
                    <a:pt x="658" y="3486"/>
                    <a:pt x="623" y="3425"/>
                    <a:pt x="586" y="3365"/>
                  </a:cubicBezTo>
                  <a:cubicBezTo>
                    <a:pt x="564" y="3328"/>
                    <a:pt x="539" y="3292"/>
                    <a:pt x="519" y="3253"/>
                  </a:cubicBezTo>
                  <a:cubicBezTo>
                    <a:pt x="510" y="3237"/>
                    <a:pt x="506" y="3217"/>
                    <a:pt x="505" y="3198"/>
                  </a:cubicBezTo>
                  <a:cubicBezTo>
                    <a:pt x="504" y="3082"/>
                    <a:pt x="505" y="2966"/>
                    <a:pt x="505" y="2850"/>
                  </a:cubicBezTo>
                  <a:cubicBezTo>
                    <a:pt x="505" y="2850"/>
                    <a:pt x="504" y="2850"/>
                    <a:pt x="504" y="2850"/>
                  </a:cubicBezTo>
                  <a:close/>
                  <a:moveTo>
                    <a:pt x="1035" y="2418"/>
                  </a:moveTo>
                  <a:cubicBezTo>
                    <a:pt x="1156" y="2418"/>
                    <a:pt x="1278" y="2418"/>
                    <a:pt x="1399" y="2418"/>
                  </a:cubicBezTo>
                  <a:cubicBezTo>
                    <a:pt x="1432" y="2418"/>
                    <a:pt x="1433" y="2417"/>
                    <a:pt x="1434" y="2385"/>
                  </a:cubicBezTo>
                  <a:cubicBezTo>
                    <a:pt x="1435" y="2305"/>
                    <a:pt x="1453" y="2228"/>
                    <a:pt x="1482" y="2155"/>
                  </a:cubicBezTo>
                  <a:cubicBezTo>
                    <a:pt x="1507" y="2091"/>
                    <a:pt x="1537" y="2028"/>
                    <a:pt x="1571" y="1968"/>
                  </a:cubicBezTo>
                  <a:cubicBezTo>
                    <a:pt x="1624" y="1871"/>
                    <a:pt x="1682" y="1778"/>
                    <a:pt x="1737" y="1682"/>
                  </a:cubicBezTo>
                  <a:cubicBezTo>
                    <a:pt x="1773" y="1619"/>
                    <a:pt x="1811" y="1557"/>
                    <a:pt x="1843" y="1492"/>
                  </a:cubicBezTo>
                  <a:cubicBezTo>
                    <a:pt x="1870" y="1439"/>
                    <a:pt x="1892" y="1383"/>
                    <a:pt x="1915" y="1328"/>
                  </a:cubicBezTo>
                  <a:cubicBezTo>
                    <a:pt x="1943" y="1261"/>
                    <a:pt x="1961" y="1190"/>
                    <a:pt x="1969" y="1118"/>
                  </a:cubicBezTo>
                  <a:cubicBezTo>
                    <a:pt x="1984" y="962"/>
                    <a:pt x="1972" y="809"/>
                    <a:pt x="1914" y="661"/>
                  </a:cubicBezTo>
                  <a:cubicBezTo>
                    <a:pt x="1883" y="582"/>
                    <a:pt x="1842" y="509"/>
                    <a:pt x="1788" y="444"/>
                  </a:cubicBezTo>
                  <a:cubicBezTo>
                    <a:pt x="1725" y="367"/>
                    <a:pt x="1648" y="306"/>
                    <a:pt x="1559" y="260"/>
                  </a:cubicBezTo>
                  <a:cubicBezTo>
                    <a:pt x="1478" y="217"/>
                    <a:pt x="1392" y="189"/>
                    <a:pt x="1302" y="172"/>
                  </a:cubicBezTo>
                  <a:cubicBezTo>
                    <a:pt x="1215" y="156"/>
                    <a:pt x="1127" y="150"/>
                    <a:pt x="1038" y="151"/>
                  </a:cubicBezTo>
                  <a:cubicBezTo>
                    <a:pt x="928" y="154"/>
                    <a:pt x="821" y="171"/>
                    <a:pt x="719" y="208"/>
                  </a:cubicBezTo>
                  <a:cubicBezTo>
                    <a:pt x="633" y="239"/>
                    <a:pt x="554" y="282"/>
                    <a:pt x="482" y="339"/>
                  </a:cubicBezTo>
                  <a:cubicBezTo>
                    <a:pt x="379" y="418"/>
                    <a:pt x="301" y="517"/>
                    <a:pt x="244" y="633"/>
                  </a:cubicBezTo>
                  <a:cubicBezTo>
                    <a:pt x="213" y="696"/>
                    <a:pt x="191" y="762"/>
                    <a:pt x="175" y="831"/>
                  </a:cubicBezTo>
                  <a:cubicBezTo>
                    <a:pt x="158" y="898"/>
                    <a:pt x="152" y="966"/>
                    <a:pt x="152" y="1033"/>
                  </a:cubicBezTo>
                  <a:cubicBezTo>
                    <a:pt x="152" y="1130"/>
                    <a:pt x="163" y="1226"/>
                    <a:pt x="195" y="1318"/>
                  </a:cubicBezTo>
                  <a:cubicBezTo>
                    <a:pt x="212" y="1367"/>
                    <a:pt x="225" y="1419"/>
                    <a:pt x="247" y="1466"/>
                  </a:cubicBezTo>
                  <a:cubicBezTo>
                    <a:pt x="281" y="1545"/>
                    <a:pt x="320" y="1622"/>
                    <a:pt x="359" y="1698"/>
                  </a:cubicBezTo>
                  <a:cubicBezTo>
                    <a:pt x="398" y="1772"/>
                    <a:pt x="440" y="1844"/>
                    <a:pt x="480" y="1917"/>
                  </a:cubicBezTo>
                  <a:cubicBezTo>
                    <a:pt x="525" y="1998"/>
                    <a:pt x="564" y="2082"/>
                    <a:pt x="594" y="2171"/>
                  </a:cubicBezTo>
                  <a:cubicBezTo>
                    <a:pt x="619" y="2242"/>
                    <a:pt x="634" y="2314"/>
                    <a:pt x="638" y="2389"/>
                  </a:cubicBezTo>
                  <a:cubicBezTo>
                    <a:pt x="639" y="2415"/>
                    <a:pt x="642" y="2418"/>
                    <a:pt x="669" y="2418"/>
                  </a:cubicBezTo>
                  <a:cubicBezTo>
                    <a:pt x="791" y="2418"/>
                    <a:pt x="913" y="2418"/>
                    <a:pt x="1035" y="2418"/>
                  </a:cubicBezTo>
                  <a:close/>
                  <a:moveTo>
                    <a:pt x="1036" y="3269"/>
                  </a:moveTo>
                  <a:cubicBezTo>
                    <a:pt x="1036" y="3269"/>
                    <a:pt x="1036" y="3269"/>
                    <a:pt x="1036" y="3269"/>
                  </a:cubicBezTo>
                  <a:cubicBezTo>
                    <a:pt x="921" y="3269"/>
                    <a:pt x="805" y="3269"/>
                    <a:pt x="690" y="3270"/>
                  </a:cubicBezTo>
                  <a:cubicBezTo>
                    <a:pt x="684" y="3270"/>
                    <a:pt x="677" y="3274"/>
                    <a:pt x="671" y="3276"/>
                  </a:cubicBezTo>
                  <a:cubicBezTo>
                    <a:pt x="673" y="3282"/>
                    <a:pt x="674" y="3288"/>
                    <a:pt x="677" y="3294"/>
                  </a:cubicBezTo>
                  <a:cubicBezTo>
                    <a:pt x="689" y="3314"/>
                    <a:pt x="702" y="3335"/>
                    <a:pt x="714" y="3355"/>
                  </a:cubicBezTo>
                  <a:cubicBezTo>
                    <a:pt x="765" y="3441"/>
                    <a:pt x="817" y="3526"/>
                    <a:pt x="869" y="3612"/>
                  </a:cubicBezTo>
                  <a:cubicBezTo>
                    <a:pt x="876" y="3624"/>
                    <a:pt x="885" y="3629"/>
                    <a:pt x="900" y="3629"/>
                  </a:cubicBezTo>
                  <a:cubicBezTo>
                    <a:pt x="988" y="3629"/>
                    <a:pt x="1076" y="3629"/>
                    <a:pt x="1164" y="3629"/>
                  </a:cubicBezTo>
                  <a:cubicBezTo>
                    <a:pt x="1178" y="3629"/>
                    <a:pt x="1187" y="3625"/>
                    <a:pt x="1195" y="3612"/>
                  </a:cubicBezTo>
                  <a:cubicBezTo>
                    <a:pt x="1223" y="3567"/>
                    <a:pt x="1251" y="3521"/>
                    <a:pt x="1280" y="3476"/>
                  </a:cubicBezTo>
                  <a:cubicBezTo>
                    <a:pt x="1317" y="3416"/>
                    <a:pt x="1354" y="3357"/>
                    <a:pt x="1390" y="3297"/>
                  </a:cubicBezTo>
                  <a:cubicBezTo>
                    <a:pt x="1394" y="3290"/>
                    <a:pt x="1396" y="3282"/>
                    <a:pt x="1398" y="3274"/>
                  </a:cubicBezTo>
                  <a:cubicBezTo>
                    <a:pt x="1391" y="3272"/>
                    <a:pt x="1383" y="3269"/>
                    <a:pt x="1376" y="3269"/>
                  </a:cubicBezTo>
                  <a:cubicBezTo>
                    <a:pt x="1263" y="3269"/>
                    <a:pt x="1149" y="3269"/>
                    <a:pt x="1036" y="3269"/>
                  </a:cubicBezTo>
                  <a:close/>
                  <a:moveTo>
                    <a:pt x="1433" y="2860"/>
                  </a:moveTo>
                  <a:cubicBezTo>
                    <a:pt x="1433" y="2771"/>
                    <a:pt x="1433" y="2682"/>
                    <a:pt x="1434" y="2592"/>
                  </a:cubicBezTo>
                  <a:cubicBezTo>
                    <a:pt x="1434" y="2573"/>
                    <a:pt x="1429" y="2565"/>
                    <a:pt x="1408" y="2565"/>
                  </a:cubicBezTo>
                  <a:cubicBezTo>
                    <a:pt x="1362" y="2567"/>
                    <a:pt x="1316" y="2566"/>
                    <a:pt x="1270" y="2566"/>
                  </a:cubicBezTo>
                  <a:cubicBezTo>
                    <a:pt x="1252" y="2565"/>
                    <a:pt x="1245" y="2571"/>
                    <a:pt x="1245" y="2589"/>
                  </a:cubicBezTo>
                  <a:cubicBezTo>
                    <a:pt x="1245" y="2770"/>
                    <a:pt x="1245" y="2950"/>
                    <a:pt x="1245" y="3131"/>
                  </a:cubicBezTo>
                  <a:cubicBezTo>
                    <a:pt x="1245" y="3149"/>
                    <a:pt x="1252" y="3157"/>
                    <a:pt x="1271" y="3157"/>
                  </a:cubicBezTo>
                  <a:cubicBezTo>
                    <a:pt x="1315" y="3156"/>
                    <a:pt x="1359" y="3157"/>
                    <a:pt x="1403" y="3157"/>
                  </a:cubicBezTo>
                  <a:cubicBezTo>
                    <a:pt x="1431" y="3157"/>
                    <a:pt x="1433" y="3154"/>
                    <a:pt x="1433" y="3126"/>
                  </a:cubicBezTo>
                  <a:cubicBezTo>
                    <a:pt x="1434" y="3037"/>
                    <a:pt x="1433" y="2949"/>
                    <a:pt x="1433" y="2860"/>
                  </a:cubicBezTo>
                  <a:close/>
                  <a:moveTo>
                    <a:pt x="810" y="2861"/>
                  </a:moveTo>
                  <a:cubicBezTo>
                    <a:pt x="810" y="2770"/>
                    <a:pt x="810" y="2680"/>
                    <a:pt x="810" y="2589"/>
                  </a:cubicBezTo>
                  <a:cubicBezTo>
                    <a:pt x="810" y="2572"/>
                    <a:pt x="806" y="2565"/>
                    <a:pt x="788" y="2566"/>
                  </a:cubicBezTo>
                  <a:cubicBezTo>
                    <a:pt x="746" y="2567"/>
                    <a:pt x="704" y="2566"/>
                    <a:pt x="662" y="2566"/>
                  </a:cubicBezTo>
                  <a:cubicBezTo>
                    <a:pt x="645" y="2565"/>
                    <a:pt x="638" y="2571"/>
                    <a:pt x="638" y="2589"/>
                  </a:cubicBezTo>
                  <a:cubicBezTo>
                    <a:pt x="638" y="2770"/>
                    <a:pt x="638" y="2951"/>
                    <a:pt x="638" y="3133"/>
                  </a:cubicBezTo>
                  <a:cubicBezTo>
                    <a:pt x="638" y="3151"/>
                    <a:pt x="646" y="3157"/>
                    <a:pt x="663" y="3157"/>
                  </a:cubicBezTo>
                  <a:cubicBezTo>
                    <a:pt x="701" y="3156"/>
                    <a:pt x="739" y="3157"/>
                    <a:pt x="777" y="3157"/>
                  </a:cubicBezTo>
                  <a:cubicBezTo>
                    <a:pt x="810" y="3157"/>
                    <a:pt x="810" y="3157"/>
                    <a:pt x="810" y="3125"/>
                  </a:cubicBezTo>
                  <a:cubicBezTo>
                    <a:pt x="810" y="3037"/>
                    <a:pt x="810" y="2949"/>
                    <a:pt x="810" y="2861"/>
                  </a:cubicBezTo>
                  <a:close/>
                  <a:moveTo>
                    <a:pt x="945" y="2861"/>
                  </a:moveTo>
                  <a:cubicBezTo>
                    <a:pt x="945" y="2951"/>
                    <a:pt x="945" y="3041"/>
                    <a:pt x="946" y="3131"/>
                  </a:cubicBezTo>
                  <a:cubicBezTo>
                    <a:pt x="946" y="3155"/>
                    <a:pt x="947" y="3156"/>
                    <a:pt x="972" y="3157"/>
                  </a:cubicBezTo>
                  <a:cubicBezTo>
                    <a:pt x="1008" y="3157"/>
                    <a:pt x="1044" y="3157"/>
                    <a:pt x="1080" y="3157"/>
                  </a:cubicBezTo>
                  <a:cubicBezTo>
                    <a:pt x="1107" y="3157"/>
                    <a:pt x="1110" y="3154"/>
                    <a:pt x="1110" y="3126"/>
                  </a:cubicBezTo>
                  <a:cubicBezTo>
                    <a:pt x="1111" y="3063"/>
                    <a:pt x="1111" y="3000"/>
                    <a:pt x="1111" y="2938"/>
                  </a:cubicBezTo>
                  <a:cubicBezTo>
                    <a:pt x="1111" y="2824"/>
                    <a:pt x="1111" y="2710"/>
                    <a:pt x="1111" y="2596"/>
                  </a:cubicBezTo>
                  <a:cubicBezTo>
                    <a:pt x="1110" y="2567"/>
                    <a:pt x="1109" y="2566"/>
                    <a:pt x="1080" y="2566"/>
                  </a:cubicBezTo>
                  <a:cubicBezTo>
                    <a:pt x="1043" y="2566"/>
                    <a:pt x="1007" y="2567"/>
                    <a:pt x="970" y="2565"/>
                  </a:cubicBezTo>
                  <a:cubicBezTo>
                    <a:pt x="950" y="2565"/>
                    <a:pt x="945" y="2572"/>
                    <a:pt x="945" y="2591"/>
                  </a:cubicBezTo>
                  <a:cubicBezTo>
                    <a:pt x="946" y="2681"/>
                    <a:pt x="945" y="2771"/>
                    <a:pt x="945" y="2861"/>
                  </a:cubicBezTo>
                  <a:close/>
                  <a:moveTo>
                    <a:pt x="1031" y="3741"/>
                  </a:moveTo>
                  <a:cubicBezTo>
                    <a:pt x="1011" y="3741"/>
                    <a:pt x="990" y="3741"/>
                    <a:pt x="970" y="3741"/>
                  </a:cubicBezTo>
                  <a:cubicBezTo>
                    <a:pt x="960" y="3742"/>
                    <a:pt x="950" y="3745"/>
                    <a:pt x="956" y="3757"/>
                  </a:cubicBezTo>
                  <a:cubicBezTo>
                    <a:pt x="977" y="3792"/>
                    <a:pt x="999" y="3827"/>
                    <a:pt x="1020" y="3861"/>
                  </a:cubicBezTo>
                  <a:cubicBezTo>
                    <a:pt x="1028" y="3873"/>
                    <a:pt x="1036" y="3870"/>
                    <a:pt x="1042" y="3860"/>
                  </a:cubicBezTo>
                  <a:cubicBezTo>
                    <a:pt x="1062" y="3829"/>
                    <a:pt x="1082" y="3797"/>
                    <a:pt x="1101" y="3764"/>
                  </a:cubicBezTo>
                  <a:cubicBezTo>
                    <a:pt x="1110" y="3750"/>
                    <a:pt x="1106" y="3742"/>
                    <a:pt x="1089" y="3741"/>
                  </a:cubicBezTo>
                  <a:cubicBezTo>
                    <a:pt x="1070" y="3741"/>
                    <a:pt x="1051" y="3741"/>
                    <a:pt x="1031" y="3741"/>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25" name="Freeform 7">
              <a:extLst>
                <a:ext uri="{FF2B5EF4-FFF2-40B4-BE49-F238E27FC236}">
                  <a16:creationId xmlns:a16="http://schemas.microsoft.com/office/drawing/2014/main" id="{2CC49E43-50C3-D549-89F1-D494335CB02A}"/>
                </a:ext>
              </a:extLst>
            </p:cNvPr>
            <p:cNvSpPr>
              <a:spLocks/>
            </p:cNvSpPr>
            <p:nvPr/>
          </p:nvSpPr>
          <p:spPr bwMode="auto">
            <a:xfrm>
              <a:off x="4656973" y="3858847"/>
              <a:ext cx="519218" cy="458782"/>
            </a:xfrm>
            <a:custGeom>
              <a:avLst/>
              <a:gdLst>
                <a:gd name="T0" fmla="*/ 529 w 613"/>
                <a:gd name="T1" fmla="*/ 5 h 525"/>
                <a:gd name="T2" fmla="*/ 604 w 613"/>
                <a:gd name="T3" fmla="*/ 62 h 525"/>
                <a:gd name="T4" fmla="*/ 574 w 613"/>
                <a:gd name="T5" fmla="*/ 144 h 525"/>
                <a:gd name="T6" fmla="*/ 393 w 613"/>
                <a:gd name="T7" fmla="*/ 293 h 525"/>
                <a:gd name="T8" fmla="*/ 261 w 613"/>
                <a:gd name="T9" fmla="*/ 400 h 525"/>
                <a:gd name="T10" fmla="*/ 153 w 613"/>
                <a:gd name="T11" fmla="*/ 491 h 525"/>
                <a:gd name="T12" fmla="*/ 47 w 613"/>
                <a:gd name="T13" fmla="*/ 506 h 525"/>
                <a:gd name="T14" fmla="*/ 41 w 613"/>
                <a:gd name="T15" fmla="*/ 380 h 525"/>
                <a:gd name="T16" fmla="*/ 266 w 613"/>
                <a:gd name="T17" fmla="*/ 197 h 525"/>
                <a:gd name="T18" fmla="*/ 471 w 613"/>
                <a:gd name="T19" fmla="*/ 28 h 525"/>
                <a:gd name="T20" fmla="*/ 526 w 613"/>
                <a:gd name="T21" fmla="*/ 0 h 525"/>
                <a:gd name="T22" fmla="*/ 529 w 613"/>
                <a:gd name="T23" fmla="*/ 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3" h="525">
                  <a:moveTo>
                    <a:pt x="529" y="5"/>
                  </a:moveTo>
                  <a:cubicBezTo>
                    <a:pt x="565" y="2"/>
                    <a:pt x="593" y="29"/>
                    <a:pt x="604" y="62"/>
                  </a:cubicBezTo>
                  <a:cubicBezTo>
                    <a:pt x="613" y="88"/>
                    <a:pt x="598" y="125"/>
                    <a:pt x="574" y="144"/>
                  </a:cubicBezTo>
                  <a:cubicBezTo>
                    <a:pt x="513" y="193"/>
                    <a:pt x="453" y="243"/>
                    <a:pt x="393" y="293"/>
                  </a:cubicBezTo>
                  <a:cubicBezTo>
                    <a:pt x="349" y="329"/>
                    <a:pt x="305" y="364"/>
                    <a:pt x="261" y="400"/>
                  </a:cubicBezTo>
                  <a:cubicBezTo>
                    <a:pt x="225" y="430"/>
                    <a:pt x="188" y="460"/>
                    <a:pt x="153" y="491"/>
                  </a:cubicBezTo>
                  <a:cubicBezTo>
                    <a:pt x="118" y="521"/>
                    <a:pt x="76" y="525"/>
                    <a:pt x="47" y="506"/>
                  </a:cubicBezTo>
                  <a:cubicBezTo>
                    <a:pt x="3" y="477"/>
                    <a:pt x="0" y="413"/>
                    <a:pt x="41" y="380"/>
                  </a:cubicBezTo>
                  <a:cubicBezTo>
                    <a:pt x="116" y="319"/>
                    <a:pt x="191" y="258"/>
                    <a:pt x="266" y="197"/>
                  </a:cubicBezTo>
                  <a:cubicBezTo>
                    <a:pt x="335" y="140"/>
                    <a:pt x="402" y="83"/>
                    <a:pt x="471" y="28"/>
                  </a:cubicBezTo>
                  <a:cubicBezTo>
                    <a:pt x="487" y="15"/>
                    <a:pt x="508" y="9"/>
                    <a:pt x="526" y="0"/>
                  </a:cubicBezTo>
                  <a:cubicBezTo>
                    <a:pt x="527" y="2"/>
                    <a:pt x="528" y="3"/>
                    <a:pt x="529" y="5"/>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6" name="Freeform 8">
              <a:extLst>
                <a:ext uri="{FF2B5EF4-FFF2-40B4-BE49-F238E27FC236}">
                  <a16:creationId xmlns:a16="http://schemas.microsoft.com/office/drawing/2014/main" id="{6AB11ECC-C75E-1549-B5BB-E35E9389DE65}"/>
                </a:ext>
              </a:extLst>
            </p:cNvPr>
            <p:cNvSpPr>
              <a:spLocks/>
            </p:cNvSpPr>
            <p:nvPr/>
          </p:nvSpPr>
          <p:spPr bwMode="auto">
            <a:xfrm>
              <a:off x="6759416" y="1345460"/>
              <a:ext cx="391331" cy="571164"/>
            </a:xfrm>
            <a:custGeom>
              <a:avLst/>
              <a:gdLst>
                <a:gd name="T0" fmla="*/ 370 w 461"/>
                <a:gd name="T1" fmla="*/ 0 h 652"/>
                <a:gd name="T2" fmla="*/ 437 w 461"/>
                <a:gd name="T3" fmla="*/ 106 h 652"/>
                <a:gd name="T4" fmla="*/ 384 w 461"/>
                <a:gd name="T5" fmla="*/ 204 h 652"/>
                <a:gd name="T6" fmla="*/ 289 w 461"/>
                <a:gd name="T7" fmla="*/ 371 h 652"/>
                <a:gd name="T8" fmla="*/ 180 w 461"/>
                <a:gd name="T9" fmla="*/ 556 h 652"/>
                <a:gd name="T10" fmla="*/ 139 w 461"/>
                <a:gd name="T11" fmla="*/ 621 h 652"/>
                <a:gd name="T12" fmla="*/ 41 w 461"/>
                <a:gd name="T13" fmla="*/ 632 h 652"/>
                <a:gd name="T14" fmla="*/ 11 w 461"/>
                <a:gd name="T15" fmla="*/ 547 h 652"/>
                <a:gd name="T16" fmla="*/ 41 w 461"/>
                <a:gd name="T17" fmla="*/ 488 h 652"/>
                <a:gd name="T18" fmla="*/ 156 w 461"/>
                <a:gd name="T19" fmla="*/ 287 h 652"/>
                <a:gd name="T20" fmla="*/ 265 w 461"/>
                <a:gd name="T21" fmla="*/ 100 h 652"/>
                <a:gd name="T22" fmla="*/ 303 w 461"/>
                <a:gd name="T23" fmla="*/ 35 h 652"/>
                <a:gd name="T24" fmla="*/ 370 w 461"/>
                <a:gd name="T25" fmla="*/ 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652">
                  <a:moveTo>
                    <a:pt x="370" y="0"/>
                  </a:moveTo>
                  <a:cubicBezTo>
                    <a:pt x="426" y="2"/>
                    <a:pt x="461" y="55"/>
                    <a:pt x="437" y="106"/>
                  </a:cubicBezTo>
                  <a:cubicBezTo>
                    <a:pt x="422" y="140"/>
                    <a:pt x="402" y="172"/>
                    <a:pt x="384" y="204"/>
                  </a:cubicBezTo>
                  <a:cubicBezTo>
                    <a:pt x="353" y="260"/>
                    <a:pt x="321" y="315"/>
                    <a:pt x="289" y="371"/>
                  </a:cubicBezTo>
                  <a:cubicBezTo>
                    <a:pt x="253" y="433"/>
                    <a:pt x="217" y="494"/>
                    <a:pt x="180" y="556"/>
                  </a:cubicBezTo>
                  <a:cubicBezTo>
                    <a:pt x="167" y="578"/>
                    <a:pt x="156" y="601"/>
                    <a:pt x="139" y="621"/>
                  </a:cubicBezTo>
                  <a:cubicBezTo>
                    <a:pt x="116" y="649"/>
                    <a:pt x="75" y="652"/>
                    <a:pt x="41" y="632"/>
                  </a:cubicBezTo>
                  <a:cubicBezTo>
                    <a:pt x="15" y="617"/>
                    <a:pt x="0" y="578"/>
                    <a:pt x="11" y="547"/>
                  </a:cubicBezTo>
                  <a:cubicBezTo>
                    <a:pt x="19" y="526"/>
                    <a:pt x="30" y="507"/>
                    <a:pt x="41" y="488"/>
                  </a:cubicBezTo>
                  <a:cubicBezTo>
                    <a:pt x="79" y="421"/>
                    <a:pt x="117" y="354"/>
                    <a:pt x="156" y="287"/>
                  </a:cubicBezTo>
                  <a:cubicBezTo>
                    <a:pt x="192" y="224"/>
                    <a:pt x="229" y="162"/>
                    <a:pt x="265" y="100"/>
                  </a:cubicBezTo>
                  <a:cubicBezTo>
                    <a:pt x="277" y="78"/>
                    <a:pt x="289" y="56"/>
                    <a:pt x="303" y="35"/>
                  </a:cubicBezTo>
                  <a:cubicBezTo>
                    <a:pt x="320" y="9"/>
                    <a:pt x="339" y="0"/>
                    <a:pt x="370" y="0"/>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7" name="Freeform 9">
              <a:extLst>
                <a:ext uri="{FF2B5EF4-FFF2-40B4-BE49-F238E27FC236}">
                  <a16:creationId xmlns:a16="http://schemas.microsoft.com/office/drawing/2014/main" id="{B3350E36-C772-8840-A462-798AC5EDE9A2}"/>
                </a:ext>
              </a:extLst>
            </p:cNvPr>
            <p:cNvSpPr>
              <a:spLocks/>
            </p:cNvSpPr>
            <p:nvPr/>
          </p:nvSpPr>
          <p:spPr bwMode="auto">
            <a:xfrm>
              <a:off x="5178747" y="1378514"/>
              <a:ext cx="370870" cy="576453"/>
            </a:xfrm>
            <a:custGeom>
              <a:avLst/>
              <a:gdLst>
                <a:gd name="T0" fmla="*/ 81 w 438"/>
                <a:gd name="T1" fmla="*/ 4 h 660"/>
                <a:gd name="T2" fmla="*/ 152 w 438"/>
                <a:gd name="T3" fmla="*/ 45 h 660"/>
                <a:gd name="T4" fmla="*/ 285 w 438"/>
                <a:gd name="T5" fmla="*/ 281 h 660"/>
                <a:gd name="T6" fmla="*/ 410 w 438"/>
                <a:gd name="T7" fmla="*/ 509 h 660"/>
                <a:gd name="T8" fmla="*/ 434 w 438"/>
                <a:gd name="T9" fmla="*/ 575 h 660"/>
                <a:gd name="T10" fmla="*/ 379 w 438"/>
                <a:gd name="T11" fmla="*/ 651 h 660"/>
                <a:gd name="T12" fmla="*/ 289 w 438"/>
                <a:gd name="T13" fmla="*/ 610 h 660"/>
                <a:gd name="T14" fmla="*/ 200 w 438"/>
                <a:gd name="T15" fmla="*/ 449 h 660"/>
                <a:gd name="T16" fmla="*/ 108 w 438"/>
                <a:gd name="T17" fmla="*/ 282 h 660"/>
                <a:gd name="T18" fmla="*/ 17 w 438"/>
                <a:gd name="T19" fmla="*/ 122 h 660"/>
                <a:gd name="T20" fmla="*/ 16 w 438"/>
                <a:gd name="T21" fmla="*/ 40 h 660"/>
                <a:gd name="T22" fmla="*/ 81 w 438"/>
                <a:gd name="T23" fmla="*/ 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660">
                  <a:moveTo>
                    <a:pt x="81" y="4"/>
                  </a:moveTo>
                  <a:cubicBezTo>
                    <a:pt x="116" y="3"/>
                    <a:pt x="137" y="18"/>
                    <a:pt x="152" y="45"/>
                  </a:cubicBezTo>
                  <a:cubicBezTo>
                    <a:pt x="196" y="123"/>
                    <a:pt x="241" y="202"/>
                    <a:pt x="285" y="281"/>
                  </a:cubicBezTo>
                  <a:cubicBezTo>
                    <a:pt x="327" y="357"/>
                    <a:pt x="369" y="433"/>
                    <a:pt x="410" y="509"/>
                  </a:cubicBezTo>
                  <a:cubicBezTo>
                    <a:pt x="421" y="530"/>
                    <a:pt x="432" y="553"/>
                    <a:pt x="434" y="575"/>
                  </a:cubicBezTo>
                  <a:cubicBezTo>
                    <a:pt x="438" y="612"/>
                    <a:pt x="412" y="642"/>
                    <a:pt x="379" y="651"/>
                  </a:cubicBezTo>
                  <a:cubicBezTo>
                    <a:pt x="346" y="660"/>
                    <a:pt x="306" y="641"/>
                    <a:pt x="289" y="610"/>
                  </a:cubicBezTo>
                  <a:cubicBezTo>
                    <a:pt x="260" y="556"/>
                    <a:pt x="230" y="502"/>
                    <a:pt x="200" y="449"/>
                  </a:cubicBezTo>
                  <a:cubicBezTo>
                    <a:pt x="169" y="393"/>
                    <a:pt x="139" y="337"/>
                    <a:pt x="108" y="282"/>
                  </a:cubicBezTo>
                  <a:cubicBezTo>
                    <a:pt x="78" y="229"/>
                    <a:pt x="47" y="175"/>
                    <a:pt x="17" y="122"/>
                  </a:cubicBezTo>
                  <a:cubicBezTo>
                    <a:pt x="2" y="95"/>
                    <a:pt x="0" y="66"/>
                    <a:pt x="16" y="40"/>
                  </a:cubicBezTo>
                  <a:cubicBezTo>
                    <a:pt x="31" y="15"/>
                    <a:pt x="53" y="0"/>
                    <a:pt x="81" y="4"/>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8" name="Freeform 10">
              <a:extLst>
                <a:ext uri="{FF2B5EF4-FFF2-40B4-BE49-F238E27FC236}">
                  <a16:creationId xmlns:a16="http://schemas.microsoft.com/office/drawing/2014/main" id="{0EDE2568-8AB6-AE4D-9469-CDE2A38F546D}"/>
                </a:ext>
              </a:extLst>
            </p:cNvPr>
            <p:cNvSpPr>
              <a:spLocks/>
            </p:cNvSpPr>
            <p:nvPr/>
          </p:nvSpPr>
          <p:spPr bwMode="auto">
            <a:xfrm>
              <a:off x="7114940" y="3801994"/>
              <a:ext cx="521774" cy="452171"/>
            </a:xfrm>
            <a:custGeom>
              <a:avLst/>
              <a:gdLst>
                <a:gd name="T0" fmla="*/ 528 w 618"/>
                <a:gd name="T1" fmla="*/ 516 h 516"/>
                <a:gd name="T2" fmla="*/ 479 w 618"/>
                <a:gd name="T3" fmla="*/ 493 h 516"/>
                <a:gd name="T4" fmla="*/ 233 w 618"/>
                <a:gd name="T5" fmla="*/ 302 h 516"/>
                <a:gd name="T6" fmla="*/ 70 w 618"/>
                <a:gd name="T7" fmla="*/ 172 h 516"/>
                <a:gd name="T8" fmla="*/ 27 w 618"/>
                <a:gd name="T9" fmla="*/ 136 h 516"/>
                <a:gd name="T10" fmla="*/ 28 w 618"/>
                <a:gd name="T11" fmla="*/ 31 h 516"/>
                <a:gd name="T12" fmla="*/ 131 w 618"/>
                <a:gd name="T13" fmla="*/ 24 h 516"/>
                <a:gd name="T14" fmla="*/ 308 w 618"/>
                <a:gd name="T15" fmla="*/ 163 h 516"/>
                <a:gd name="T16" fmla="*/ 519 w 618"/>
                <a:gd name="T17" fmla="*/ 327 h 516"/>
                <a:gd name="T18" fmla="*/ 581 w 618"/>
                <a:gd name="T19" fmla="*/ 377 h 516"/>
                <a:gd name="T20" fmla="*/ 580 w 618"/>
                <a:gd name="T21" fmla="*/ 495 h 516"/>
                <a:gd name="T22" fmla="*/ 528 w 618"/>
                <a:gd name="T23"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8" h="516">
                  <a:moveTo>
                    <a:pt x="528" y="516"/>
                  </a:moveTo>
                  <a:cubicBezTo>
                    <a:pt x="511" y="508"/>
                    <a:pt x="493" y="504"/>
                    <a:pt x="479" y="493"/>
                  </a:cubicBezTo>
                  <a:cubicBezTo>
                    <a:pt x="397" y="430"/>
                    <a:pt x="315" y="366"/>
                    <a:pt x="233" y="302"/>
                  </a:cubicBezTo>
                  <a:cubicBezTo>
                    <a:pt x="179" y="259"/>
                    <a:pt x="125" y="216"/>
                    <a:pt x="70" y="172"/>
                  </a:cubicBezTo>
                  <a:cubicBezTo>
                    <a:pt x="55" y="160"/>
                    <a:pt x="39" y="149"/>
                    <a:pt x="27" y="136"/>
                  </a:cubicBezTo>
                  <a:cubicBezTo>
                    <a:pt x="0" y="106"/>
                    <a:pt x="1" y="60"/>
                    <a:pt x="28" y="31"/>
                  </a:cubicBezTo>
                  <a:cubicBezTo>
                    <a:pt x="54" y="4"/>
                    <a:pt x="100" y="0"/>
                    <a:pt x="131" y="24"/>
                  </a:cubicBezTo>
                  <a:cubicBezTo>
                    <a:pt x="190" y="70"/>
                    <a:pt x="249" y="117"/>
                    <a:pt x="308" y="163"/>
                  </a:cubicBezTo>
                  <a:cubicBezTo>
                    <a:pt x="378" y="217"/>
                    <a:pt x="449" y="272"/>
                    <a:pt x="519" y="327"/>
                  </a:cubicBezTo>
                  <a:cubicBezTo>
                    <a:pt x="540" y="343"/>
                    <a:pt x="560" y="361"/>
                    <a:pt x="581" y="377"/>
                  </a:cubicBezTo>
                  <a:cubicBezTo>
                    <a:pt x="613" y="403"/>
                    <a:pt x="618" y="463"/>
                    <a:pt x="580" y="495"/>
                  </a:cubicBezTo>
                  <a:cubicBezTo>
                    <a:pt x="566" y="506"/>
                    <a:pt x="547" y="509"/>
                    <a:pt x="528" y="516"/>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9" name="Freeform 11">
              <a:extLst>
                <a:ext uri="{FF2B5EF4-FFF2-40B4-BE49-F238E27FC236}">
                  <a16:creationId xmlns:a16="http://schemas.microsoft.com/office/drawing/2014/main" id="{526188C0-2F04-804A-BD08-B9052318A8B8}"/>
                </a:ext>
              </a:extLst>
            </p:cNvPr>
            <p:cNvSpPr>
              <a:spLocks/>
            </p:cNvSpPr>
            <p:nvPr/>
          </p:nvSpPr>
          <p:spPr bwMode="auto">
            <a:xfrm>
              <a:off x="7398845" y="2630579"/>
              <a:ext cx="608736" cy="239308"/>
            </a:xfrm>
            <a:custGeom>
              <a:avLst/>
              <a:gdLst>
                <a:gd name="T0" fmla="*/ 717 w 718"/>
                <a:gd name="T1" fmla="*/ 86 h 273"/>
                <a:gd name="T2" fmla="*/ 666 w 718"/>
                <a:gd name="T3" fmla="*/ 155 h 273"/>
                <a:gd name="T4" fmla="*/ 576 w 718"/>
                <a:gd name="T5" fmla="*/ 175 h 273"/>
                <a:gd name="T6" fmla="*/ 342 w 718"/>
                <a:gd name="T7" fmla="*/ 222 h 273"/>
                <a:gd name="T8" fmla="*/ 174 w 718"/>
                <a:gd name="T9" fmla="*/ 253 h 273"/>
                <a:gd name="T10" fmla="*/ 93 w 718"/>
                <a:gd name="T11" fmla="*/ 268 h 273"/>
                <a:gd name="T12" fmla="*/ 17 w 718"/>
                <a:gd name="T13" fmla="*/ 236 h 273"/>
                <a:gd name="T14" fmla="*/ 14 w 718"/>
                <a:gd name="T15" fmla="*/ 154 h 273"/>
                <a:gd name="T16" fmla="*/ 60 w 718"/>
                <a:gd name="T17" fmla="*/ 120 h 273"/>
                <a:gd name="T18" fmla="*/ 256 w 718"/>
                <a:gd name="T19" fmla="*/ 81 h 273"/>
                <a:gd name="T20" fmla="*/ 488 w 718"/>
                <a:gd name="T21" fmla="*/ 33 h 273"/>
                <a:gd name="T22" fmla="*/ 627 w 718"/>
                <a:gd name="T23" fmla="*/ 9 h 273"/>
                <a:gd name="T24" fmla="*/ 717 w 718"/>
                <a:gd name="T25" fmla="*/ 8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8" h="273">
                  <a:moveTo>
                    <a:pt x="717" y="86"/>
                  </a:moveTo>
                  <a:cubicBezTo>
                    <a:pt x="716" y="117"/>
                    <a:pt x="696" y="147"/>
                    <a:pt x="666" y="155"/>
                  </a:cubicBezTo>
                  <a:cubicBezTo>
                    <a:pt x="637" y="164"/>
                    <a:pt x="606" y="169"/>
                    <a:pt x="576" y="175"/>
                  </a:cubicBezTo>
                  <a:cubicBezTo>
                    <a:pt x="498" y="191"/>
                    <a:pt x="420" y="207"/>
                    <a:pt x="342" y="222"/>
                  </a:cubicBezTo>
                  <a:cubicBezTo>
                    <a:pt x="286" y="233"/>
                    <a:pt x="230" y="243"/>
                    <a:pt x="174" y="253"/>
                  </a:cubicBezTo>
                  <a:cubicBezTo>
                    <a:pt x="147" y="258"/>
                    <a:pt x="120" y="264"/>
                    <a:pt x="93" y="268"/>
                  </a:cubicBezTo>
                  <a:cubicBezTo>
                    <a:pt x="62" y="273"/>
                    <a:pt x="35" y="263"/>
                    <a:pt x="17" y="236"/>
                  </a:cubicBezTo>
                  <a:cubicBezTo>
                    <a:pt x="0" y="210"/>
                    <a:pt x="1" y="180"/>
                    <a:pt x="14" y="154"/>
                  </a:cubicBezTo>
                  <a:cubicBezTo>
                    <a:pt x="23" y="137"/>
                    <a:pt x="39" y="124"/>
                    <a:pt x="60" y="120"/>
                  </a:cubicBezTo>
                  <a:cubicBezTo>
                    <a:pt x="125" y="107"/>
                    <a:pt x="191" y="94"/>
                    <a:pt x="256" y="81"/>
                  </a:cubicBezTo>
                  <a:cubicBezTo>
                    <a:pt x="333" y="65"/>
                    <a:pt x="410" y="49"/>
                    <a:pt x="488" y="33"/>
                  </a:cubicBezTo>
                  <a:cubicBezTo>
                    <a:pt x="534" y="24"/>
                    <a:pt x="581" y="16"/>
                    <a:pt x="627" y="9"/>
                  </a:cubicBezTo>
                  <a:cubicBezTo>
                    <a:pt x="686" y="0"/>
                    <a:pt x="718" y="49"/>
                    <a:pt x="717" y="86"/>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30" name="Freeform 12">
              <a:extLst>
                <a:ext uri="{FF2B5EF4-FFF2-40B4-BE49-F238E27FC236}">
                  <a16:creationId xmlns:a16="http://schemas.microsoft.com/office/drawing/2014/main" id="{0FBF3F68-5D29-D749-A01C-48553B8B47BF}"/>
                </a:ext>
              </a:extLst>
            </p:cNvPr>
            <p:cNvSpPr>
              <a:spLocks/>
            </p:cNvSpPr>
            <p:nvPr/>
          </p:nvSpPr>
          <p:spPr bwMode="auto">
            <a:xfrm>
              <a:off x="4301450" y="2692720"/>
              <a:ext cx="618968" cy="211542"/>
            </a:xfrm>
            <a:custGeom>
              <a:avLst/>
              <a:gdLst>
                <a:gd name="T0" fmla="*/ 632 w 728"/>
                <a:gd name="T1" fmla="*/ 242 h 242"/>
                <a:gd name="T2" fmla="*/ 531 w 728"/>
                <a:gd name="T3" fmla="*/ 226 h 242"/>
                <a:gd name="T4" fmla="*/ 466 w 728"/>
                <a:gd name="T5" fmla="*/ 215 h 242"/>
                <a:gd name="T6" fmla="*/ 298 w 728"/>
                <a:gd name="T7" fmla="*/ 192 h 242"/>
                <a:gd name="T8" fmla="*/ 64 w 728"/>
                <a:gd name="T9" fmla="*/ 154 h 242"/>
                <a:gd name="T10" fmla="*/ 4 w 728"/>
                <a:gd name="T11" fmla="*/ 88 h 242"/>
                <a:gd name="T12" fmla="*/ 46 w 728"/>
                <a:gd name="T13" fmla="*/ 11 h 242"/>
                <a:gd name="T14" fmla="*/ 98 w 728"/>
                <a:gd name="T15" fmla="*/ 2 h 242"/>
                <a:gd name="T16" fmla="*/ 346 w 728"/>
                <a:gd name="T17" fmla="*/ 40 h 242"/>
                <a:gd name="T18" fmla="*/ 553 w 728"/>
                <a:gd name="T19" fmla="*/ 74 h 242"/>
                <a:gd name="T20" fmla="*/ 654 w 728"/>
                <a:gd name="T21" fmla="*/ 89 h 242"/>
                <a:gd name="T22" fmla="*/ 716 w 728"/>
                <a:gd name="T23" fmla="*/ 190 h 242"/>
                <a:gd name="T24" fmla="*/ 632 w 728"/>
                <a:gd name="T25"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8" h="242">
                  <a:moveTo>
                    <a:pt x="632" y="242"/>
                  </a:moveTo>
                  <a:cubicBezTo>
                    <a:pt x="605" y="238"/>
                    <a:pt x="568" y="232"/>
                    <a:pt x="531" y="226"/>
                  </a:cubicBezTo>
                  <a:cubicBezTo>
                    <a:pt x="509" y="223"/>
                    <a:pt x="487" y="218"/>
                    <a:pt x="466" y="215"/>
                  </a:cubicBezTo>
                  <a:cubicBezTo>
                    <a:pt x="410" y="207"/>
                    <a:pt x="354" y="200"/>
                    <a:pt x="298" y="192"/>
                  </a:cubicBezTo>
                  <a:cubicBezTo>
                    <a:pt x="220" y="180"/>
                    <a:pt x="142" y="167"/>
                    <a:pt x="64" y="154"/>
                  </a:cubicBezTo>
                  <a:cubicBezTo>
                    <a:pt x="37" y="149"/>
                    <a:pt x="9" y="118"/>
                    <a:pt x="4" y="88"/>
                  </a:cubicBezTo>
                  <a:cubicBezTo>
                    <a:pt x="0" y="59"/>
                    <a:pt x="18" y="22"/>
                    <a:pt x="46" y="11"/>
                  </a:cubicBezTo>
                  <a:cubicBezTo>
                    <a:pt x="62" y="4"/>
                    <a:pt x="81" y="0"/>
                    <a:pt x="98" y="2"/>
                  </a:cubicBezTo>
                  <a:cubicBezTo>
                    <a:pt x="181" y="14"/>
                    <a:pt x="263" y="27"/>
                    <a:pt x="346" y="40"/>
                  </a:cubicBezTo>
                  <a:cubicBezTo>
                    <a:pt x="415" y="51"/>
                    <a:pt x="484" y="63"/>
                    <a:pt x="553" y="74"/>
                  </a:cubicBezTo>
                  <a:cubicBezTo>
                    <a:pt x="586" y="80"/>
                    <a:pt x="620" y="85"/>
                    <a:pt x="654" y="89"/>
                  </a:cubicBezTo>
                  <a:cubicBezTo>
                    <a:pt x="707" y="97"/>
                    <a:pt x="728" y="145"/>
                    <a:pt x="716" y="190"/>
                  </a:cubicBezTo>
                  <a:cubicBezTo>
                    <a:pt x="707" y="222"/>
                    <a:pt x="679" y="242"/>
                    <a:pt x="632" y="242"/>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31" name="Freeform 19">
              <a:extLst>
                <a:ext uri="{FF2B5EF4-FFF2-40B4-BE49-F238E27FC236}">
                  <a16:creationId xmlns:a16="http://schemas.microsoft.com/office/drawing/2014/main" id="{B34C190E-AB1C-874D-8650-010C6DD12BC3}"/>
                </a:ext>
              </a:extLst>
            </p:cNvPr>
            <p:cNvSpPr>
              <a:spLocks/>
            </p:cNvSpPr>
            <p:nvPr/>
          </p:nvSpPr>
          <p:spPr bwMode="auto">
            <a:xfrm>
              <a:off x="5613559" y="2597526"/>
              <a:ext cx="363196" cy="879223"/>
            </a:xfrm>
            <a:custGeom>
              <a:avLst/>
              <a:gdLst>
                <a:gd name="T0" fmla="*/ 0 w 431"/>
                <a:gd name="T1" fmla="*/ 579 h 1005"/>
                <a:gd name="T2" fmla="*/ 45 w 431"/>
                <a:gd name="T3" fmla="*/ 334 h 1005"/>
                <a:gd name="T4" fmla="*/ 210 w 431"/>
                <a:gd name="T5" fmla="*/ 93 h 1005"/>
                <a:gd name="T6" fmla="*/ 338 w 431"/>
                <a:gd name="T7" fmla="*/ 13 h 1005"/>
                <a:gd name="T8" fmla="*/ 420 w 431"/>
                <a:gd name="T9" fmla="*/ 52 h 1005"/>
                <a:gd name="T10" fmla="*/ 385 w 431"/>
                <a:gd name="T11" fmla="*/ 128 h 1005"/>
                <a:gd name="T12" fmla="*/ 244 w 431"/>
                <a:gd name="T13" fmla="*/ 238 h 1005"/>
                <a:gd name="T14" fmla="*/ 153 w 431"/>
                <a:gd name="T15" fmla="*/ 399 h 1005"/>
                <a:gd name="T16" fmla="*/ 139 w 431"/>
                <a:gd name="T17" fmla="*/ 686 h 1005"/>
                <a:gd name="T18" fmla="*/ 259 w 431"/>
                <a:gd name="T19" fmla="*/ 895 h 1005"/>
                <a:gd name="T20" fmla="*/ 258 w 431"/>
                <a:gd name="T21" fmla="*/ 979 h 1005"/>
                <a:gd name="T22" fmla="*/ 170 w 431"/>
                <a:gd name="T23" fmla="*/ 982 h 1005"/>
                <a:gd name="T24" fmla="*/ 42 w 431"/>
                <a:gd name="T25" fmla="*/ 784 h 1005"/>
                <a:gd name="T26" fmla="*/ 0 w 431"/>
                <a:gd name="T27" fmla="*/ 579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1005">
                  <a:moveTo>
                    <a:pt x="0" y="579"/>
                  </a:moveTo>
                  <a:cubicBezTo>
                    <a:pt x="1" y="484"/>
                    <a:pt x="16" y="408"/>
                    <a:pt x="45" y="334"/>
                  </a:cubicBezTo>
                  <a:cubicBezTo>
                    <a:pt x="82" y="241"/>
                    <a:pt x="136" y="160"/>
                    <a:pt x="210" y="93"/>
                  </a:cubicBezTo>
                  <a:cubicBezTo>
                    <a:pt x="247" y="58"/>
                    <a:pt x="290" y="31"/>
                    <a:pt x="338" y="13"/>
                  </a:cubicBezTo>
                  <a:cubicBezTo>
                    <a:pt x="373" y="0"/>
                    <a:pt x="402" y="14"/>
                    <a:pt x="420" y="52"/>
                  </a:cubicBezTo>
                  <a:cubicBezTo>
                    <a:pt x="431" y="76"/>
                    <a:pt x="417" y="114"/>
                    <a:pt x="385" y="128"/>
                  </a:cubicBezTo>
                  <a:cubicBezTo>
                    <a:pt x="328" y="152"/>
                    <a:pt x="284" y="190"/>
                    <a:pt x="244" y="238"/>
                  </a:cubicBezTo>
                  <a:cubicBezTo>
                    <a:pt x="204" y="287"/>
                    <a:pt x="174" y="340"/>
                    <a:pt x="153" y="399"/>
                  </a:cubicBezTo>
                  <a:cubicBezTo>
                    <a:pt x="118" y="493"/>
                    <a:pt x="114" y="589"/>
                    <a:pt x="139" y="686"/>
                  </a:cubicBezTo>
                  <a:cubicBezTo>
                    <a:pt x="159" y="766"/>
                    <a:pt x="202" y="835"/>
                    <a:pt x="259" y="895"/>
                  </a:cubicBezTo>
                  <a:cubicBezTo>
                    <a:pt x="279" y="916"/>
                    <a:pt x="279" y="959"/>
                    <a:pt x="258" y="979"/>
                  </a:cubicBezTo>
                  <a:cubicBezTo>
                    <a:pt x="233" y="1004"/>
                    <a:pt x="192" y="1005"/>
                    <a:pt x="170" y="982"/>
                  </a:cubicBezTo>
                  <a:cubicBezTo>
                    <a:pt x="115" y="924"/>
                    <a:pt x="72" y="858"/>
                    <a:pt x="42" y="784"/>
                  </a:cubicBezTo>
                  <a:cubicBezTo>
                    <a:pt x="13" y="713"/>
                    <a:pt x="1" y="639"/>
                    <a:pt x="0" y="579"/>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grpSp>
      <p:grpSp>
        <p:nvGrpSpPr>
          <p:cNvPr id="10" name="Groupe 9">
            <a:extLst>
              <a:ext uri="{FF2B5EF4-FFF2-40B4-BE49-F238E27FC236}">
                <a16:creationId xmlns:a16="http://schemas.microsoft.com/office/drawing/2014/main" id="{DDE1487A-85D9-324D-8C03-8F3EA8F0F330}"/>
              </a:ext>
            </a:extLst>
          </p:cNvPr>
          <p:cNvGrpSpPr/>
          <p:nvPr/>
        </p:nvGrpSpPr>
        <p:grpSpPr>
          <a:xfrm>
            <a:off x="5395962" y="4861246"/>
            <a:ext cx="4401454" cy="1137091"/>
            <a:chOff x="5150747" y="4447815"/>
            <a:chExt cx="6450703" cy="1573280"/>
          </a:xfrm>
        </p:grpSpPr>
        <p:pic>
          <p:nvPicPr>
            <p:cNvPr id="5" name="Image 4">
              <a:extLst>
                <a:ext uri="{FF2B5EF4-FFF2-40B4-BE49-F238E27FC236}">
                  <a16:creationId xmlns:a16="http://schemas.microsoft.com/office/drawing/2014/main" id="{F3D38A62-C291-B24B-AE12-A772E76971AF}"/>
                </a:ext>
              </a:extLst>
            </p:cNvPr>
            <p:cNvPicPr>
              <a:picLocks noChangeAspect="1"/>
            </p:cNvPicPr>
            <p:nvPr/>
          </p:nvPicPr>
          <p:blipFill>
            <a:blip r:embed="rId3"/>
            <a:stretch>
              <a:fillRect/>
            </a:stretch>
          </p:blipFill>
          <p:spPr>
            <a:xfrm>
              <a:off x="5150747" y="4585995"/>
              <a:ext cx="2120900" cy="1435100"/>
            </a:xfrm>
            <a:prstGeom prst="rect">
              <a:avLst/>
            </a:prstGeom>
          </p:spPr>
        </p:pic>
        <p:pic>
          <p:nvPicPr>
            <p:cNvPr id="6" name="Image 5">
              <a:extLst>
                <a:ext uri="{FF2B5EF4-FFF2-40B4-BE49-F238E27FC236}">
                  <a16:creationId xmlns:a16="http://schemas.microsoft.com/office/drawing/2014/main" id="{161CA82A-5543-A442-BA91-4A27CB858654}"/>
                </a:ext>
              </a:extLst>
            </p:cNvPr>
            <p:cNvPicPr>
              <a:picLocks noChangeAspect="1"/>
            </p:cNvPicPr>
            <p:nvPr/>
          </p:nvPicPr>
          <p:blipFill>
            <a:blip r:embed="rId4"/>
            <a:stretch>
              <a:fillRect/>
            </a:stretch>
          </p:blipFill>
          <p:spPr>
            <a:xfrm>
              <a:off x="7327782" y="4585995"/>
              <a:ext cx="2120900" cy="1435100"/>
            </a:xfrm>
            <a:prstGeom prst="rect">
              <a:avLst/>
            </a:prstGeom>
          </p:spPr>
        </p:pic>
        <p:pic>
          <p:nvPicPr>
            <p:cNvPr id="7" name="Image 6">
              <a:extLst>
                <a:ext uri="{FF2B5EF4-FFF2-40B4-BE49-F238E27FC236}">
                  <a16:creationId xmlns:a16="http://schemas.microsoft.com/office/drawing/2014/main" id="{83D27D95-9F12-5B44-81C7-5C450D756155}"/>
                </a:ext>
              </a:extLst>
            </p:cNvPr>
            <p:cNvPicPr>
              <a:picLocks noChangeAspect="1"/>
            </p:cNvPicPr>
            <p:nvPr/>
          </p:nvPicPr>
          <p:blipFill>
            <a:blip r:embed="rId5"/>
            <a:stretch>
              <a:fillRect/>
            </a:stretch>
          </p:blipFill>
          <p:spPr>
            <a:xfrm>
              <a:off x="9480550" y="4447815"/>
              <a:ext cx="2120900" cy="1435100"/>
            </a:xfrm>
            <a:prstGeom prst="rect">
              <a:avLst/>
            </a:prstGeom>
          </p:spPr>
        </p:pic>
      </p:grpSp>
      <p:grpSp>
        <p:nvGrpSpPr>
          <p:cNvPr id="44" name="Group 35">
            <a:extLst>
              <a:ext uri="{FF2B5EF4-FFF2-40B4-BE49-F238E27FC236}">
                <a16:creationId xmlns:a16="http://schemas.microsoft.com/office/drawing/2014/main" id="{305C7769-87B8-314C-9C16-83A4E4E42A4A}"/>
              </a:ext>
            </a:extLst>
          </p:cNvPr>
          <p:cNvGrpSpPr/>
          <p:nvPr/>
        </p:nvGrpSpPr>
        <p:grpSpPr>
          <a:xfrm>
            <a:off x="11117423" y="4525126"/>
            <a:ext cx="295338" cy="333075"/>
            <a:chOff x="6493081" y="1742364"/>
            <a:chExt cx="660464" cy="657690"/>
          </a:xfrm>
        </p:grpSpPr>
        <p:sp>
          <p:nvSpPr>
            <p:cNvPr id="45" name="Oval 36">
              <a:extLst>
                <a:ext uri="{FF2B5EF4-FFF2-40B4-BE49-F238E27FC236}">
                  <a16:creationId xmlns:a16="http://schemas.microsoft.com/office/drawing/2014/main" id="{D64CA05F-8954-7145-B2AD-57B734A805A9}"/>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Rectangle: Rounded Corners 37">
              <a:extLst>
                <a:ext uri="{FF2B5EF4-FFF2-40B4-BE49-F238E27FC236}">
                  <a16:creationId xmlns:a16="http://schemas.microsoft.com/office/drawing/2014/main" id="{086BC670-457D-EC4E-B6CB-1AE27EE6C681}"/>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38">
              <a:extLst>
                <a:ext uri="{FF2B5EF4-FFF2-40B4-BE49-F238E27FC236}">
                  <a16:creationId xmlns:a16="http://schemas.microsoft.com/office/drawing/2014/main" id="{C5DC6A2D-9B59-8547-AC93-AF4A6DA870AF}"/>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35">
            <a:extLst>
              <a:ext uri="{FF2B5EF4-FFF2-40B4-BE49-F238E27FC236}">
                <a16:creationId xmlns:a16="http://schemas.microsoft.com/office/drawing/2014/main" id="{F9359B72-CC60-6547-8E4F-16C34B3F93AE}"/>
              </a:ext>
            </a:extLst>
          </p:cNvPr>
          <p:cNvGrpSpPr/>
          <p:nvPr/>
        </p:nvGrpSpPr>
        <p:grpSpPr>
          <a:xfrm>
            <a:off x="11110396" y="992513"/>
            <a:ext cx="295338" cy="333075"/>
            <a:chOff x="6493081" y="1742364"/>
            <a:chExt cx="660464" cy="657690"/>
          </a:xfrm>
        </p:grpSpPr>
        <p:sp>
          <p:nvSpPr>
            <p:cNvPr id="49" name="Oval 36">
              <a:extLst>
                <a:ext uri="{FF2B5EF4-FFF2-40B4-BE49-F238E27FC236}">
                  <a16:creationId xmlns:a16="http://schemas.microsoft.com/office/drawing/2014/main" id="{934C985D-41A5-C74E-BA11-34901A59DB4C}"/>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Rectangle: Rounded Corners 37">
              <a:extLst>
                <a:ext uri="{FF2B5EF4-FFF2-40B4-BE49-F238E27FC236}">
                  <a16:creationId xmlns:a16="http://schemas.microsoft.com/office/drawing/2014/main" id="{0D95588F-67DA-E74C-A469-6B4980725022}"/>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38">
              <a:extLst>
                <a:ext uri="{FF2B5EF4-FFF2-40B4-BE49-F238E27FC236}">
                  <a16:creationId xmlns:a16="http://schemas.microsoft.com/office/drawing/2014/main" id="{3767060A-8F32-D44C-BCAF-572E75F99A15}"/>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ZoneTexte 10">
            <a:extLst>
              <a:ext uri="{FF2B5EF4-FFF2-40B4-BE49-F238E27FC236}">
                <a16:creationId xmlns:a16="http://schemas.microsoft.com/office/drawing/2014/main" id="{388B92BA-0FD7-6647-A715-81C01453FF05}"/>
              </a:ext>
            </a:extLst>
          </p:cNvPr>
          <p:cNvSpPr txBox="1"/>
          <p:nvPr/>
        </p:nvSpPr>
        <p:spPr>
          <a:xfrm>
            <a:off x="10479647" y="1817830"/>
            <a:ext cx="1556837" cy="338554"/>
          </a:xfrm>
          <a:prstGeom prst="rect">
            <a:avLst/>
          </a:prstGeom>
          <a:noFill/>
        </p:spPr>
        <p:txBody>
          <a:bodyPr wrap="square" rtlCol="0">
            <a:spAutoFit/>
          </a:bodyPr>
          <a:lstStyle/>
          <a:p>
            <a:r>
              <a:rPr lang="fr-FR" sz="1600" dirty="0"/>
              <a:t>YOLO simplifié</a:t>
            </a:r>
          </a:p>
        </p:txBody>
      </p:sp>
      <p:sp>
        <p:nvSpPr>
          <p:cNvPr id="52" name="ZoneTexte 51">
            <a:extLst>
              <a:ext uri="{FF2B5EF4-FFF2-40B4-BE49-F238E27FC236}">
                <a16:creationId xmlns:a16="http://schemas.microsoft.com/office/drawing/2014/main" id="{63A29FAE-B363-174A-B3BE-7EEF91B3230A}"/>
              </a:ext>
            </a:extLst>
          </p:cNvPr>
          <p:cNvSpPr txBox="1"/>
          <p:nvPr/>
        </p:nvSpPr>
        <p:spPr>
          <a:xfrm>
            <a:off x="10877430" y="5108184"/>
            <a:ext cx="761271" cy="584775"/>
          </a:xfrm>
          <a:prstGeom prst="rect">
            <a:avLst/>
          </a:prstGeom>
          <a:noFill/>
        </p:spPr>
        <p:txBody>
          <a:bodyPr wrap="square" rtlCol="0">
            <a:spAutoFit/>
          </a:bodyPr>
          <a:lstStyle/>
          <a:p>
            <a:r>
              <a:rPr lang="fr-FR" sz="1600" dirty="0"/>
              <a:t>ORB,</a:t>
            </a:r>
          </a:p>
          <a:p>
            <a:r>
              <a:rPr lang="fr-FR" sz="1600" dirty="0"/>
              <a:t>SIFT</a:t>
            </a:r>
          </a:p>
        </p:txBody>
      </p:sp>
      <p:sp>
        <p:nvSpPr>
          <p:cNvPr id="12" name="ZoneTexte 11">
            <a:extLst>
              <a:ext uri="{FF2B5EF4-FFF2-40B4-BE49-F238E27FC236}">
                <a16:creationId xmlns:a16="http://schemas.microsoft.com/office/drawing/2014/main" id="{48D7A49D-AE9A-894C-B3E9-688E389C2E94}"/>
              </a:ext>
            </a:extLst>
          </p:cNvPr>
          <p:cNvSpPr txBox="1"/>
          <p:nvPr/>
        </p:nvSpPr>
        <p:spPr>
          <a:xfrm>
            <a:off x="271463" y="5900738"/>
            <a:ext cx="11624936" cy="276999"/>
          </a:xfrm>
          <a:prstGeom prst="rect">
            <a:avLst/>
          </a:prstGeom>
          <a:noFill/>
        </p:spPr>
        <p:txBody>
          <a:bodyPr wrap="square" rtlCol="0">
            <a:spAutoFit/>
          </a:bodyPr>
          <a:lstStyle/>
          <a:p>
            <a:r>
              <a:rPr lang="fr-FR" sz="1100" b="1" dirty="0"/>
              <a:t>MODEL RECOGNITION BY KEYPOINT MATCHING </a:t>
            </a:r>
            <a:r>
              <a:rPr lang="fr-FR" sz="1200" dirty="0"/>
              <a:t>: </a:t>
            </a:r>
            <a:r>
              <a:rPr lang="fr-FR" sz="1200" dirty="0">
                <a:hlinkClick r:id="rId6"/>
              </a:rPr>
              <a:t>http://hvrl.ics.keio.ac.jp/paper/pdf/international_Conference/2013/ICME_IMV2014_shinozuka.pdf</a:t>
            </a:r>
            <a:endParaRPr lang="fr-FR" sz="1200" dirty="0"/>
          </a:p>
        </p:txBody>
      </p:sp>
      <p:grpSp>
        <p:nvGrpSpPr>
          <p:cNvPr id="53" name="Groupe 52">
            <a:extLst>
              <a:ext uri="{FF2B5EF4-FFF2-40B4-BE49-F238E27FC236}">
                <a16:creationId xmlns:a16="http://schemas.microsoft.com/office/drawing/2014/main" id="{4153CBA7-859C-49CD-92AD-04A00B78DCA6}"/>
              </a:ext>
            </a:extLst>
          </p:cNvPr>
          <p:cNvGrpSpPr/>
          <p:nvPr/>
        </p:nvGrpSpPr>
        <p:grpSpPr>
          <a:xfrm>
            <a:off x="3849469" y="4381889"/>
            <a:ext cx="7063521" cy="560994"/>
            <a:chOff x="5698490" y="1419382"/>
            <a:chExt cx="5607533" cy="901974"/>
          </a:xfrm>
        </p:grpSpPr>
        <p:sp>
          <p:nvSpPr>
            <p:cNvPr id="54" name="Rectangle 53">
              <a:extLst>
                <a:ext uri="{FF2B5EF4-FFF2-40B4-BE49-F238E27FC236}">
                  <a16:creationId xmlns:a16="http://schemas.microsoft.com/office/drawing/2014/main" id="{89B126CF-D992-4FB9-A280-BF16A01D4120}"/>
                </a:ext>
              </a:extLst>
            </p:cNvPr>
            <p:cNvSpPr/>
            <p:nvPr/>
          </p:nvSpPr>
          <p:spPr>
            <a:xfrm>
              <a:off x="5705688" y="1603339"/>
              <a:ext cx="5600335" cy="66548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5" name="TextBox 19">
              <a:extLst>
                <a:ext uri="{FF2B5EF4-FFF2-40B4-BE49-F238E27FC236}">
                  <a16:creationId xmlns:a16="http://schemas.microsoft.com/office/drawing/2014/main" id="{2CCE1C02-EC43-4F82-BEE9-9E96CABC0C1B}"/>
                </a:ext>
              </a:extLst>
            </p:cNvPr>
            <p:cNvSpPr txBox="1"/>
            <p:nvPr/>
          </p:nvSpPr>
          <p:spPr>
            <a:xfrm>
              <a:off x="5698490" y="1419382"/>
              <a:ext cx="1177107" cy="8217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0</a:t>
              </a:r>
              <a:r>
                <a:rPr lang="fr-FR" sz="3600" b="1" dirty="0">
                  <a:solidFill>
                    <a:srgbClr val="004575"/>
                  </a:solidFill>
                  <a:latin typeface="Open Sans" panose="020B0606030504020204" pitchFamily="34" charset="0"/>
                </a:rPr>
                <a:t>3</a:t>
              </a:r>
              <a:endParaRPr kumimoji="0" lang="en-GB" sz="3600" b="1" i="0" u="none" strike="noStrike" kern="1200" cap="none" spc="0" normalizeH="0" baseline="0" noProof="0" dirty="0">
                <a:ln>
                  <a:noFill/>
                </a:ln>
                <a:solidFill>
                  <a:srgbClr val="004575"/>
                </a:solidFill>
                <a:effectLst/>
                <a:uLnTx/>
                <a:uFillTx/>
                <a:latin typeface="Noto Sans" panose="020B0502040504020204" pitchFamily="34"/>
                <a:ea typeface="Noto Sans" panose="020B0502040504020204" pitchFamily="34"/>
                <a:cs typeface="Noto Sans" panose="020B0502040504020204" pitchFamily="34"/>
              </a:endParaRPr>
            </a:p>
          </p:txBody>
        </p:sp>
        <p:sp>
          <p:nvSpPr>
            <p:cNvPr id="56" name="TextBox 24">
              <a:extLst>
                <a:ext uri="{FF2B5EF4-FFF2-40B4-BE49-F238E27FC236}">
                  <a16:creationId xmlns:a16="http://schemas.microsoft.com/office/drawing/2014/main" id="{254FEE18-7D16-4656-A97B-22D29B7E96C1}"/>
                </a:ext>
              </a:extLst>
            </p:cNvPr>
            <p:cNvSpPr txBox="1"/>
            <p:nvPr/>
          </p:nvSpPr>
          <p:spPr>
            <a:xfrm>
              <a:off x="6849566" y="1695275"/>
              <a:ext cx="4452715" cy="62608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Identification des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modèles</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de voiture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en</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utilisant</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des points de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repère</a:t>
              </a:r>
              <a:endParaRPr kumimoji="0" lang="en-GB" sz="1300" b="0"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57" name="Group 35">
            <a:extLst>
              <a:ext uri="{FF2B5EF4-FFF2-40B4-BE49-F238E27FC236}">
                <a16:creationId xmlns:a16="http://schemas.microsoft.com/office/drawing/2014/main" id="{75377C67-722E-4559-A5B0-26E7C7064411}"/>
              </a:ext>
            </a:extLst>
          </p:cNvPr>
          <p:cNvGrpSpPr/>
          <p:nvPr/>
        </p:nvGrpSpPr>
        <p:grpSpPr>
          <a:xfrm>
            <a:off x="11110396" y="2781164"/>
            <a:ext cx="295338" cy="333075"/>
            <a:chOff x="6493081" y="1742364"/>
            <a:chExt cx="660464" cy="657690"/>
          </a:xfrm>
        </p:grpSpPr>
        <p:sp>
          <p:nvSpPr>
            <p:cNvPr id="58" name="Oval 36">
              <a:extLst>
                <a:ext uri="{FF2B5EF4-FFF2-40B4-BE49-F238E27FC236}">
                  <a16:creationId xmlns:a16="http://schemas.microsoft.com/office/drawing/2014/main" id="{637B66E9-D4AF-4D51-9CDB-D10EEE303980}"/>
                </a:ext>
              </a:extLst>
            </p:cNvPr>
            <p:cNvSpPr>
              <a:spLocks noChangeArrowheads="1"/>
            </p:cNvSpPr>
            <p:nvPr/>
          </p:nvSpPr>
          <p:spPr bwMode="auto">
            <a:xfrm>
              <a:off x="6493081" y="1742364"/>
              <a:ext cx="660464" cy="657690"/>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Rectangle: Rounded Corners 37">
              <a:extLst>
                <a:ext uri="{FF2B5EF4-FFF2-40B4-BE49-F238E27FC236}">
                  <a16:creationId xmlns:a16="http://schemas.microsoft.com/office/drawing/2014/main" id="{D73C16AB-D6A9-48D8-84E8-E8C07055C342}"/>
                </a:ext>
              </a:extLst>
            </p:cNvPr>
            <p:cNvSpPr/>
            <p:nvPr/>
          </p:nvSpPr>
          <p:spPr>
            <a:xfrm rot="2700000">
              <a:off x="6651394" y="2069258"/>
              <a:ext cx="205179" cy="95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38">
              <a:extLst>
                <a:ext uri="{FF2B5EF4-FFF2-40B4-BE49-F238E27FC236}">
                  <a16:creationId xmlns:a16="http://schemas.microsoft.com/office/drawing/2014/main" id="{B9FB397C-B669-4B0B-872E-47A3DDF5C104}"/>
                </a:ext>
              </a:extLst>
            </p:cNvPr>
            <p:cNvSpPr/>
            <p:nvPr/>
          </p:nvSpPr>
          <p:spPr>
            <a:xfrm rot="8100000">
              <a:off x="6714042" y="2021725"/>
              <a:ext cx="339627" cy="954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ZoneTexte 60">
            <a:extLst>
              <a:ext uri="{FF2B5EF4-FFF2-40B4-BE49-F238E27FC236}">
                <a16:creationId xmlns:a16="http://schemas.microsoft.com/office/drawing/2014/main" id="{5C80FD7E-F309-4964-9002-DA2CCD8A843C}"/>
              </a:ext>
            </a:extLst>
          </p:cNvPr>
          <p:cNvSpPr txBox="1"/>
          <p:nvPr/>
        </p:nvSpPr>
        <p:spPr>
          <a:xfrm>
            <a:off x="10920638" y="3521671"/>
            <a:ext cx="674855" cy="338554"/>
          </a:xfrm>
          <a:prstGeom prst="rect">
            <a:avLst/>
          </a:prstGeom>
          <a:noFill/>
        </p:spPr>
        <p:txBody>
          <a:bodyPr wrap="square" rtlCol="0">
            <a:spAutoFit/>
          </a:bodyPr>
          <a:lstStyle/>
          <a:p>
            <a:r>
              <a:rPr lang="fr-FR" sz="1600" dirty="0" err="1"/>
              <a:t>Crop</a:t>
            </a:r>
            <a:endParaRPr lang="fr-FR" sz="1600" dirty="0"/>
          </a:p>
        </p:txBody>
      </p:sp>
      <p:grpSp>
        <p:nvGrpSpPr>
          <p:cNvPr id="67" name="Groupe 66">
            <a:extLst>
              <a:ext uri="{FF2B5EF4-FFF2-40B4-BE49-F238E27FC236}">
                <a16:creationId xmlns:a16="http://schemas.microsoft.com/office/drawing/2014/main" id="{BF3F8433-9E29-4CAC-840B-C9A506B860A0}"/>
              </a:ext>
            </a:extLst>
          </p:cNvPr>
          <p:cNvGrpSpPr/>
          <p:nvPr/>
        </p:nvGrpSpPr>
        <p:grpSpPr>
          <a:xfrm>
            <a:off x="3854183" y="833305"/>
            <a:ext cx="7063521" cy="646331"/>
            <a:chOff x="5698490" y="1419382"/>
            <a:chExt cx="5607533" cy="1039180"/>
          </a:xfrm>
        </p:grpSpPr>
        <p:sp>
          <p:nvSpPr>
            <p:cNvPr id="68" name="Rectangle 67">
              <a:extLst>
                <a:ext uri="{FF2B5EF4-FFF2-40B4-BE49-F238E27FC236}">
                  <a16:creationId xmlns:a16="http://schemas.microsoft.com/office/drawing/2014/main" id="{FBDF3BBF-14AB-4133-B2CF-31431371A8AA}"/>
                </a:ext>
              </a:extLst>
            </p:cNvPr>
            <p:cNvSpPr/>
            <p:nvPr/>
          </p:nvSpPr>
          <p:spPr>
            <a:xfrm>
              <a:off x="5705688" y="1603339"/>
              <a:ext cx="5600335" cy="66548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9" name="TextBox 19">
              <a:extLst>
                <a:ext uri="{FF2B5EF4-FFF2-40B4-BE49-F238E27FC236}">
                  <a16:creationId xmlns:a16="http://schemas.microsoft.com/office/drawing/2014/main" id="{3093C1F3-88FC-4D57-9351-C1A4C8428CBD}"/>
                </a:ext>
              </a:extLst>
            </p:cNvPr>
            <p:cNvSpPr txBox="1"/>
            <p:nvPr/>
          </p:nvSpPr>
          <p:spPr>
            <a:xfrm>
              <a:off x="5698490" y="1419382"/>
              <a:ext cx="1177107" cy="10391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0</a:t>
              </a:r>
              <a:r>
                <a:rPr kumimoji="0" lang="fr-FR"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1</a:t>
              </a:r>
              <a:endParaRPr kumimoji="0" lang="en-GB" sz="3600" b="1" i="0" u="none" strike="noStrike" kern="1200" cap="none" spc="0" normalizeH="0" baseline="0" noProof="0" dirty="0">
                <a:ln>
                  <a:noFill/>
                </a:ln>
                <a:solidFill>
                  <a:srgbClr val="004575"/>
                </a:solidFill>
                <a:effectLst/>
                <a:uLnTx/>
                <a:uFillTx/>
                <a:latin typeface="Noto Sans" panose="020B0502040504020204" pitchFamily="34"/>
                <a:ea typeface="Noto Sans" panose="020B0502040504020204" pitchFamily="34"/>
                <a:cs typeface="Noto Sans" panose="020B0502040504020204" pitchFamily="34"/>
              </a:endParaRPr>
            </a:p>
          </p:txBody>
        </p:sp>
        <p:sp>
          <p:nvSpPr>
            <p:cNvPr id="70" name="TextBox 24">
              <a:extLst>
                <a:ext uri="{FF2B5EF4-FFF2-40B4-BE49-F238E27FC236}">
                  <a16:creationId xmlns:a16="http://schemas.microsoft.com/office/drawing/2014/main" id="{40C271AA-B599-4CE9-96F3-8D53E6E83EE2}"/>
                </a:ext>
              </a:extLst>
            </p:cNvPr>
            <p:cNvSpPr txBox="1"/>
            <p:nvPr/>
          </p:nvSpPr>
          <p:spPr>
            <a:xfrm>
              <a:off x="6849566" y="1695275"/>
              <a:ext cx="4452715" cy="47010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Deep Learning pour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détecter</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une</a:t>
              </a:r>
              <a:r>
                <a:rPr lang="en-US" sz="1300" dirty="0">
                  <a:solidFill>
                    <a:srgbClr val="FFFFFF"/>
                  </a:solidFill>
                  <a:latin typeface="Open Sans" panose="020B0606030504020204" pitchFamily="34" charset="0"/>
                </a:rPr>
                <a:t> </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voiture dans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une</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image</a:t>
              </a:r>
              <a:endParaRPr kumimoji="0" lang="en-GB" sz="1300" b="0"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71" name="Groupe 70">
            <a:extLst>
              <a:ext uri="{FF2B5EF4-FFF2-40B4-BE49-F238E27FC236}">
                <a16:creationId xmlns:a16="http://schemas.microsoft.com/office/drawing/2014/main" id="{06C1E8F6-0F00-4546-BBBD-0E860667FF21}"/>
              </a:ext>
            </a:extLst>
          </p:cNvPr>
          <p:cNvGrpSpPr/>
          <p:nvPr/>
        </p:nvGrpSpPr>
        <p:grpSpPr>
          <a:xfrm>
            <a:off x="3854183" y="2617906"/>
            <a:ext cx="7063521" cy="646331"/>
            <a:chOff x="5698490" y="1419382"/>
            <a:chExt cx="5607533" cy="1039180"/>
          </a:xfrm>
        </p:grpSpPr>
        <p:sp>
          <p:nvSpPr>
            <p:cNvPr id="72" name="Rectangle 71">
              <a:extLst>
                <a:ext uri="{FF2B5EF4-FFF2-40B4-BE49-F238E27FC236}">
                  <a16:creationId xmlns:a16="http://schemas.microsoft.com/office/drawing/2014/main" id="{12149270-3C50-4245-83AF-2839BBC64CB0}"/>
                </a:ext>
              </a:extLst>
            </p:cNvPr>
            <p:cNvSpPr/>
            <p:nvPr/>
          </p:nvSpPr>
          <p:spPr>
            <a:xfrm>
              <a:off x="5705688" y="1603339"/>
              <a:ext cx="5600335" cy="665483"/>
            </a:xfrm>
            <a:prstGeom prst="rect">
              <a:avLst/>
            </a:prstGeom>
            <a:solidFill>
              <a:schemeClr val="bg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TextBox 19">
              <a:extLst>
                <a:ext uri="{FF2B5EF4-FFF2-40B4-BE49-F238E27FC236}">
                  <a16:creationId xmlns:a16="http://schemas.microsoft.com/office/drawing/2014/main" id="{AE293288-C76A-4AFD-8993-11A150C7F569}"/>
                </a:ext>
              </a:extLst>
            </p:cNvPr>
            <p:cNvSpPr txBox="1"/>
            <p:nvPr/>
          </p:nvSpPr>
          <p:spPr>
            <a:xfrm>
              <a:off x="5698490" y="1419382"/>
              <a:ext cx="1177107" cy="10391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0</a:t>
              </a:r>
              <a:r>
                <a:rPr kumimoji="0" lang="fr-FR" sz="3600" b="1" i="0" u="none" strike="noStrike" kern="1200" cap="none" spc="0" normalizeH="0" baseline="0" noProof="0" dirty="0">
                  <a:ln>
                    <a:noFill/>
                  </a:ln>
                  <a:solidFill>
                    <a:srgbClr val="004575"/>
                  </a:solidFill>
                  <a:effectLst/>
                  <a:uLnTx/>
                  <a:uFillTx/>
                  <a:latin typeface="Open Sans" panose="020B0606030504020204" pitchFamily="34" charset="0"/>
                  <a:ea typeface="+mn-ea"/>
                  <a:cs typeface="+mn-cs"/>
                </a:rPr>
                <a:t>2</a:t>
              </a:r>
              <a:endParaRPr kumimoji="0" lang="en-GB" sz="3600" b="1" i="0" u="none" strike="noStrike" kern="1200" cap="none" spc="0" normalizeH="0" baseline="0" noProof="0" dirty="0">
                <a:ln>
                  <a:noFill/>
                </a:ln>
                <a:solidFill>
                  <a:srgbClr val="004575"/>
                </a:solidFill>
                <a:effectLst/>
                <a:uLnTx/>
                <a:uFillTx/>
                <a:latin typeface="Noto Sans" panose="020B0502040504020204" pitchFamily="34"/>
                <a:ea typeface="Noto Sans" panose="020B0502040504020204" pitchFamily="34"/>
                <a:cs typeface="Noto Sans" panose="020B0502040504020204" pitchFamily="34"/>
              </a:endParaRPr>
            </a:p>
          </p:txBody>
        </p:sp>
        <p:sp>
          <p:nvSpPr>
            <p:cNvPr id="74" name="TextBox 24">
              <a:extLst>
                <a:ext uri="{FF2B5EF4-FFF2-40B4-BE49-F238E27FC236}">
                  <a16:creationId xmlns:a16="http://schemas.microsoft.com/office/drawing/2014/main" id="{201CF25F-53E8-46F6-9C1C-458B213A3B22}"/>
                </a:ext>
              </a:extLst>
            </p:cNvPr>
            <p:cNvSpPr txBox="1"/>
            <p:nvPr/>
          </p:nvSpPr>
          <p:spPr>
            <a:xfrm>
              <a:off x="6849566" y="1695275"/>
              <a:ext cx="4452715" cy="47010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Extraction de </a:t>
              </a:r>
              <a:r>
                <a:rPr kumimoji="0" lang="en-US" sz="1300" b="0" i="0" u="none" strike="noStrike" kern="1200" cap="none" spc="0" normalizeH="0" baseline="0" noProof="0" dirty="0" err="1">
                  <a:ln>
                    <a:noFill/>
                  </a:ln>
                  <a:solidFill>
                    <a:srgbClr val="FFFFFF"/>
                  </a:solidFill>
                  <a:effectLst/>
                  <a:uLnTx/>
                  <a:uFillTx/>
                  <a:latin typeface="Open Sans" panose="020B0606030504020204" pitchFamily="34" charset="0"/>
                  <a:ea typeface="+mn-ea"/>
                  <a:cs typeface="+mn-cs"/>
                </a:rPr>
                <a:t>l’information</a:t>
              </a:r>
              <a:r>
                <a:rPr kumimoji="0" lang="en-US" sz="13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 utile</a:t>
              </a:r>
              <a:endParaRPr kumimoji="0" lang="en-GB" sz="1300" b="0"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9" name="Groupe 8">
            <a:extLst>
              <a:ext uri="{FF2B5EF4-FFF2-40B4-BE49-F238E27FC236}">
                <a16:creationId xmlns:a16="http://schemas.microsoft.com/office/drawing/2014/main" id="{945C3EA6-D5F1-462F-BDCE-3B776BC9EF38}"/>
              </a:ext>
            </a:extLst>
          </p:cNvPr>
          <p:cNvGrpSpPr/>
          <p:nvPr/>
        </p:nvGrpSpPr>
        <p:grpSpPr>
          <a:xfrm>
            <a:off x="5325966" y="1490157"/>
            <a:ext cx="3921566" cy="1177827"/>
            <a:chOff x="5325966" y="1490157"/>
            <a:chExt cx="3921566" cy="1177827"/>
          </a:xfrm>
        </p:grpSpPr>
        <p:grpSp>
          <p:nvGrpSpPr>
            <p:cNvPr id="8" name="Groupe 7">
              <a:extLst>
                <a:ext uri="{FF2B5EF4-FFF2-40B4-BE49-F238E27FC236}">
                  <a16:creationId xmlns:a16="http://schemas.microsoft.com/office/drawing/2014/main" id="{7F15F86C-F245-4E8D-A1BF-5D20B577B09C}"/>
                </a:ext>
              </a:extLst>
            </p:cNvPr>
            <p:cNvGrpSpPr/>
            <p:nvPr/>
          </p:nvGrpSpPr>
          <p:grpSpPr>
            <a:xfrm>
              <a:off x="5325966" y="1490157"/>
              <a:ext cx="3921566" cy="1102269"/>
              <a:chOff x="5325966" y="1490157"/>
              <a:chExt cx="3921566" cy="1102269"/>
            </a:xfrm>
          </p:grpSpPr>
          <p:pic>
            <p:nvPicPr>
              <p:cNvPr id="74754" name="Picture 2" descr="Introduction to YOLO Algorithm and YOLO Object Detection - Appsilon |  Enterprise R Shiny Dashboards">
                <a:extLst>
                  <a:ext uri="{FF2B5EF4-FFF2-40B4-BE49-F238E27FC236}">
                    <a16:creationId xmlns:a16="http://schemas.microsoft.com/office/drawing/2014/main" id="{68FC3605-4656-AF48-AAB7-77AD255E80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2925"/>
              <a:stretch/>
            </p:blipFill>
            <p:spPr bwMode="auto">
              <a:xfrm>
                <a:off x="5325966" y="1490157"/>
                <a:ext cx="3921566" cy="110226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A9DAB9FF-A529-45C6-927E-9F5B795AD725}"/>
                  </a:ext>
                </a:extLst>
              </p:cNvPr>
              <p:cNvSpPr/>
              <p:nvPr/>
            </p:nvSpPr>
            <p:spPr>
              <a:xfrm>
                <a:off x="6012000" y="2272650"/>
                <a:ext cx="216000" cy="68325"/>
              </a:xfrm>
              <a:prstGeom prst="rect">
                <a:avLst/>
              </a:prstGeom>
              <a:noFill/>
              <a:ln w="12700">
                <a:solidFill>
                  <a:srgbClr val="EB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5720" rIns="18000" bIns="45720" numCol="1" spcCol="0" rtlCol="0" fromWordArt="0" anchor="ctr" anchorCtr="0" forceAA="0" compatLnSpc="1">
                <a:prstTxWarp prst="textNoShape">
                  <a:avLst/>
                </a:prstTxWarp>
                <a:noAutofit/>
              </a:bodyPr>
              <a:lstStyle/>
              <a:p>
                <a:r>
                  <a:rPr lang="fr-FR" sz="300" dirty="0">
                    <a:solidFill>
                      <a:srgbClr val="EBFF00"/>
                    </a:solidFill>
                  </a:rPr>
                  <a:t>Car :92%</a:t>
                </a:r>
              </a:p>
            </p:txBody>
          </p:sp>
        </p:grpSp>
        <p:sp>
          <p:nvSpPr>
            <p:cNvPr id="75" name="Rectangle 74">
              <a:extLst>
                <a:ext uri="{FF2B5EF4-FFF2-40B4-BE49-F238E27FC236}">
                  <a16:creationId xmlns:a16="http://schemas.microsoft.com/office/drawing/2014/main" id="{94E6FDAF-CF44-4EB7-A709-163C9859DBAE}"/>
                </a:ext>
              </a:extLst>
            </p:cNvPr>
            <p:cNvSpPr/>
            <p:nvPr/>
          </p:nvSpPr>
          <p:spPr>
            <a:xfrm>
              <a:off x="7853666" y="2484084"/>
              <a:ext cx="493041" cy="183900"/>
            </a:xfrm>
            <a:prstGeom prst="rect">
              <a:avLst/>
            </a:prstGeom>
            <a:noFill/>
            <a:ln w="25400">
              <a:solidFill>
                <a:srgbClr val="EB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5720" rIns="18000" bIns="45720" numCol="1" spcCol="0" rtlCol="0" fromWordArt="0" anchor="ctr" anchorCtr="0" forceAA="0" compatLnSpc="1">
              <a:prstTxWarp prst="textNoShape">
                <a:avLst/>
              </a:prstTxWarp>
              <a:noAutofit/>
            </a:bodyPr>
            <a:lstStyle/>
            <a:p>
              <a:r>
                <a:rPr lang="fr-FR" sz="800" dirty="0">
                  <a:solidFill>
                    <a:srgbClr val="D3E50A"/>
                  </a:solidFill>
                </a:rPr>
                <a:t>Car :92%</a:t>
              </a:r>
            </a:p>
          </p:txBody>
        </p:sp>
      </p:grpSp>
      <p:pic>
        <p:nvPicPr>
          <p:cNvPr id="14" name="Image 13">
            <a:extLst>
              <a:ext uri="{FF2B5EF4-FFF2-40B4-BE49-F238E27FC236}">
                <a16:creationId xmlns:a16="http://schemas.microsoft.com/office/drawing/2014/main" id="{BA6A9816-C73B-4AB0-810A-74FAA29B2849}"/>
              </a:ext>
            </a:extLst>
          </p:cNvPr>
          <p:cNvPicPr>
            <a:picLocks noChangeAspect="1"/>
          </p:cNvPicPr>
          <p:nvPr/>
        </p:nvPicPr>
        <p:blipFill>
          <a:blip r:embed="rId8"/>
          <a:stretch>
            <a:fillRect/>
          </a:stretch>
        </p:blipFill>
        <p:spPr>
          <a:xfrm>
            <a:off x="5528729" y="3335742"/>
            <a:ext cx="1945501" cy="1040247"/>
          </a:xfrm>
          <a:prstGeom prst="rect">
            <a:avLst/>
          </a:prstGeom>
        </p:spPr>
      </p:pic>
      <p:pic>
        <p:nvPicPr>
          <p:cNvPr id="16" name="Image 15">
            <a:extLst>
              <a:ext uri="{FF2B5EF4-FFF2-40B4-BE49-F238E27FC236}">
                <a16:creationId xmlns:a16="http://schemas.microsoft.com/office/drawing/2014/main" id="{9CF34413-E191-4112-8F02-B347279F23E8}"/>
              </a:ext>
            </a:extLst>
          </p:cNvPr>
          <p:cNvPicPr>
            <a:picLocks noChangeAspect="1"/>
          </p:cNvPicPr>
          <p:nvPr/>
        </p:nvPicPr>
        <p:blipFill>
          <a:blip r:embed="rId9"/>
          <a:stretch>
            <a:fillRect/>
          </a:stretch>
        </p:blipFill>
        <p:spPr>
          <a:xfrm>
            <a:off x="8356233" y="3504013"/>
            <a:ext cx="1333686" cy="628738"/>
          </a:xfrm>
          <a:prstGeom prst="rect">
            <a:avLst/>
          </a:prstGeom>
        </p:spPr>
      </p:pic>
      <p:sp>
        <p:nvSpPr>
          <p:cNvPr id="17" name="Arc 16">
            <a:extLst>
              <a:ext uri="{FF2B5EF4-FFF2-40B4-BE49-F238E27FC236}">
                <a16:creationId xmlns:a16="http://schemas.microsoft.com/office/drawing/2014/main" id="{E3121B42-93B3-497B-A9AC-6B31F79ACB93}"/>
              </a:ext>
            </a:extLst>
          </p:cNvPr>
          <p:cNvSpPr/>
          <p:nvPr/>
        </p:nvSpPr>
        <p:spPr>
          <a:xfrm>
            <a:off x="7771490" y="3490092"/>
            <a:ext cx="693533" cy="443368"/>
          </a:xfrm>
          <a:prstGeom prst="arc">
            <a:avLst>
              <a:gd name="adj1" fmla="val 10853262"/>
              <a:gd name="adj2" fmla="val 0"/>
            </a:avLst>
          </a:prstGeom>
          <a:ln w="25400">
            <a:solidFill>
              <a:schemeClr val="bg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3045153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3468389"/>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4180455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Prix</a:t>
            </a:r>
          </a:p>
        </p:txBody>
      </p:sp>
      <p:pic>
        <p:nvPicPr>
          <p:cNvPr id="5" name="Image 4">
            <a:extLst>
              <a:ext uri="{FF2B5EF4-FFF2-40B4-BE49-F238E27FC236}">
                <a16:creationId xmlns:a16="http://schemas.microsoft.com/office/drawing/2014/main" id="{20254E1D-4532-46A8-BB48-0D80257E4574}"/>
              </a:ext>
            </a:extLst>
          </p:cNvPr>
          <p:cNvPicPr>
            <a:picLocks noChangeAspect="1"/>
          </p:cNvPicPr>
          <p:nvPr/>
        </p:nvPicPr>
        <p:blipFill>
          <a:blip r:embed="rId3"/>
          <a:stretch>
            <a:fillRect/>
          </a:stretch>
        </p:blipFill>
        <p:spPr>
          <a:xfrm>
            <a:off x="645284" y="1971875"/>
            <a:ext cx="1534408" cy="345242"/>
          </a:xfrm>
          <a:prstGeom prst="rect">
            <a:avLst/>
          </a:prstGeom>
        </p:spPr>
      </p:pic>
      <p:pic>
        <p:nvPicPr>
          <p:cNvPr id="7" name="Image 6">
            <a:extLst>
              <a:ext uri="{FF2B5EF4-FFF2-40B4-BE49-F238E27FC236}">
                <a16:creationId xmlns:a16="http://schemas.microsoft.com/office/drawing/2014/main" id="{3565CD13-ED57-47CF-A115-1A8A76D91C4C}"/>
              </a:ext>
            </a:extLst>
          </p:cNvPr>
          <p:cNvPicPr>
            <a:picLocks noChangeAspect="1"/>
          </p:cNvPicPr>
          <p:nvPr/>
        </p:nvPicPr>
        <p:blipFill>
          <a:blip r:embed="rId4"/>
          <a:stretch>
            <a:fillRect/>
          </a:stretch>
        </p:blipFill>
        <p:spPr>
          <a:xfrm>
            <a:off x="2903033" y="1932912"/>
            <a:ext cx="1660390" cy="445470"/>
          </a:xfrm>
          <a:prstGeom prst="rect">
            <a:avLst/>
          </a:prstGeom>
        </p:spPr>
      </p:pic>
      <p:pic>
        <p:nvPicPr>
          <p:cNvPr id="9" name="Image 8">
            <a:extLst>
              <a:ext uri="{FF2B5EF4-FFF2-40B4-BE49-F238E27FC236}">
                <a16:creationId xmlns:a16="http://schemas.microsoft.com/office/drawing/2014/main" id="{33D94BCE-2F64-46D6-A7E8-0D613F11E097}"/>
              </a:ext>
            </a:extLst>
          </p:cNvPr>
          <p:cNvPicPr>
            <a:picLocks noChangeAspect="1"/>
          </p:cNvPicPr>
          <p:nvPr/>
        </p:nvPicPr>
        <p:blipFill>
          <a:blip r:embed="rId5"/>
          <a:stretch>
            <a:fillRect/>
          </a:stretch>
        </p:blipFill>
        <p:spPr>
          <a:xfrm>
            <a:off x="5175250" y="1921761"/>
            <a:ext cx="1817255" cy="340736"/>
          </a:xfrm>
          <a:prstGeom prst="rect">
            <a:avLst/>
          </a:prstGeom>
        </p:spPr>
      </p:pic>
      <p:pic>
        <p:nvPicPr>
          <p:cNvPr id="11" name="Image 10">
            <a:extLst>
              <a:ext uri="{FF2B5EF4-FFF2-40B4-BE49-F238E27FC236}">
                <a16:creationId xmlns:a16="http://schemas.microsoft.com/office/drawing/2014/main" id="{0007E218-7ECD-43B1-82E1-088DA2E8DA36}"/>
              </a:ext>
            </a:extLst>
          </p:cNvPr>
          <p:cNvPicPr>
            <a:picLocks noChangeAspect="1"/>
          </p:cNvPicPr>
          <p:nvPr/>
        </p:nvPicPr>
        <p:blipFill>
          <a:blip r:embed="rId6"/>
          <a:stretch>
            <a:fillRect/>
          </a:stretch>
        </p:blipFill>
        <p:spPr>
          <a:xfrm>
            <a:off x="7726999" y="1993371"/>
            <a:ext cx="1503294" cy="302250"/>
          </a:xfrm>
          <a:prstGeom prst="rect">
            <a:avLst/>
          </a:prstGeom>
        </p:spPr>
      </p:pic>
      <p:pic>
        <p:nvPicPr>
          <p:cNvPr id="13" name="Image 12">
            <a:extLst>
              <a:ext uri="{FF2B5EF4-FFF2-40B4-BE49-F238E27FC236}">
                <a16:creationId xmlns:a16="http://schemas.microsoft.com/office/drawing/2014/main" id="{91CCADC5-2D88-41EC-A1F2-03AE4BF6BB73}"/>
              </a:ext>
            </a:extLst>
          </p:cNvPr>
          <p:cNvPicPr>
            <a:picLocks noChangeAspect="1"/>
          </p:cNvPicPr>
          <p:nvPr/>
        </p:nvPicPr>
        <p:blipFill>
          <a:blip r:embed="rId7"/>
          <a:stretch>
            <a:fillRect/>
          </a:stretch>
        </p:blipFill>
        <p:spPr>
          <a:xfrm>
            <a:off x="10187807" y="1874590"/>
            <a:ext cx="1269702" cy="539813"/>
          </a:xfrm>
          <a:prstGeom prst="rect">
            <a:avLst/>
          </a:prstGeom>
        </p:spPr>
      </p:pic>
      <p:sp>
        <p:nvSpPr>
          <p:cNvPr id="14" name="ZoneTexte 13">
            <a:extLst>
              <a:ext uri="{FF2B5EF4-FFF2-40B4-BE49-F238E27FC236}">
                <a16:creationId xmlns:a16="http://schemas.microsoft.com/office/drawing/2014/main" id="{89169243-B801-486C-B35B-7112F2009210}"/>
              </a:ext>
            </a:extLst>
          </p:cNvPr>
          <p:cNvSpPr txBox="1"/>
          <p:nvPr/>
        </p:nvSpPr>
        <p:spPr>
          <a:xfrm>
            <a:off x="232000" y="2792180"/>
            <a:ext cx="2160000" cy="1846659"/>
          </a:xfrm>
          <a:prstGeom prst="rect">
            <a:avLst/>
          </a:prstGeom>
          <a:noFill/>
        </p:spPr>
        <p:txBody>
          <a:bodyPr wrap="square" rtlCol="0">
            <a:spAutoFit/>
          </a:bodyPr>
          <a:lstStyle/>
          <a:p>
            <a:pPr algn="ctr"/>
            <a:r>
              <a:rPr lang="fr-FR" sz="1400" b="1" dirty="0"/>
              <a:t>Opportunité commerciale</a:t>
            </a:r>
          </a:p>
          <a:p>
            <a:endParaRPr lang="fr-FR" sz="1400" dirty="0"/>
          </a:p>
          <a:p>
            <a:pPr algn="just"/>
            <a:r>
              <a:rPr lang="fr-FR" sz="1200" dirty="0"/>
              <a:t>L'opportunité commerciale récompense l'équipe qui s'est le </a:t>
            </a:r>
            <a:r>
              <a:rPr lang="fr-FR" sz="1200" b="1" dirty="0"/>
              <a:t>mieux projetée dans un contexte de marché </a:t>
            </a:r>
            <a:r>
              <a:rPr lang="fr-FR" sz="1200" dirty="0"/>
              <a:t>grâce à un discours vidéo percutant.</a:t>
            </a:r>
          </a:p>
        </p:txBody>
      </p:sp>
      <p:sp>
        <p:nvSpPr>
          <p:cNvPr id="17" name="ZoneTexte 16">
            <a:extLst>
              <a:ext uri="{FF2B5EF4-FFF2-40B4-BE49-F238E27FC236}">
                <a16:creationId xmlns:a16="http://schemas.microsoft.com/office/drawing/2014/main" id="{7634CE8C-E132-4718-B6B4-9D4C598FB9EC}"/>
              </a:ext>
            </a:extLst>
          </p:cNvPr>
          <p:cNvSpPr txBox="1"/>
          <p:nvPr/>
        </p:nvSpPr>
        <p:spPr>
          <a:xfrm>
            <a:off x="2624000" y="2792180"/>
            <a:ext cx="2160000" cy="1815882"/>
          </a:xfrm>
          <a:prstGeom prst="rect">
            <a:avLst/>
          </a:prstGeom>
          <a:noFill/>
        </p:spPr>
        <p:txBody>
          <a:bodyPr wrap="square" rtlCol="0">
            <a:spAutoFit/>
          </a:bodyPr>
          <a:lstStyle/>
          <a:p>
            <a:pPr algn="ctr"/>
            <a:r>
              <a:rPr lang="fr-FR" sz="1400" b="1" dirty="0"/>
              <a:t>Approche scientifique</a:t>
            </a:r>
          </a:p>
          <a:p>
            <a:endParaRPr lang="fr-FR" sz="1400" dirty="0"/>
          </a:p>
          <a:p>
            <a:pPr algn="just"/>
            <a:r>
              <a:rPr lang="fr-FR" sz="1200" dirty="0"/>
              <a:t>L'approche scientifique récompense l'équipe qui démontre le mieux sa capacité à justifier sa </a:t>
            </a:r>
            <a:r>
              <a:rPr lang="fr-FR" sz="1200" b="1" dirty="0"/>
              <a:t>démarche</a:t>
            </a:r>
            <a:r>
              <a:rPr lang="fr-FR" sz="1200" dirty="0"/>
              <a:t> et à se confronter à </a:t>
            </a:r>
            <a:r>
              <a:rPr lang="fr-FR" sz="1200" b="1" dirty="0"/>
              <a:t>l'état de l'art </a:t>
            </a:r>
            <a:r>
              <a:rPr lang="fr-FR" sz="1200" dirty="0"/>
              <a:t>en Data Science.</a:t>
            </a:r>
          </a:p>
        </p:txBody>
      </p:sp>
      <p:sp>
        <p:nvSpPr>
          <p:cNvPr id="18" name="ZoneTexte 17">
            <a:extLst>
              <a:ext uri="{FF2B5EF4-FFF2-40B4-BE49-F238E27FC236}">
                <a16:creationId xmlns:a16="http://schemas.microsoft.com/office/drawing/2014/main" id="{2977EDE8-4E2C-4EF8-BF60-11F9BAA8FF21}"/>
              </a:ext>
            </a:extLst>
          </p:cNvPr>
          <p:cNvSpPr txBox="1"/>
          <p:nvPr/>
        </p:nvSpPr>
        <p:spPr>
          <a:xfrm>
            <a:off x="5016000" y="2792180"/>
            <a:ext cx="2160000" cy="2000548"/>
          </a:xfrm>
          <a:prstGeom prst="rect">
            <a:avLst/>
          </a:prstGeom>
          <a:noFill/>
        </p:spPr>
        <p:txBody>
          <a:bodyPr wrap="square" rtlCol="0">
            <a:spAutoFit/>
          </a:bodyPr>
          <a:lstStyle/>
          <a:p>
            <a:pPr algn="ctr"/>
            <a:r>
              <a:rPr lang="fr-FR" sz="1400" b="1" dirty="0"/>
              <a:t>Excellence technique</a:t>
            </a:r>
          </a:p>
          <a:p>
            <a:endParaRPr lang="fr-FR" sz="1400" dirty="0"/>
          </a:p>
          <a:p>
            <a:pPr algn="just"/>
            <a:r>
              <a:rPr lang="fr-FR" sz="1200" dirty="0"/>
              <a:t>L'excellence technique récompense le </a:t>
            </a:r>
            <a:r>
              <a:rPr lang="fr-FR" sz="1200" b="1" dirty="0"/>
              <a:t>modèle ayant obtenu le score le plus élevé</a:t>
            </a:r>
            <a:r>
              <a:rPr lang="fr-FR" sz="1200" dirty="0"/>
              <a:t>. Ce score est une mesure synthétique de la précision du modèle et de ses performances environnementales.</a:t>
            </a:r>
          </a:p>
        </p:txBody>
      </p:sp>
      <p:sp>
        <p:nvSpPr>
          <p:cNvPr id="19" name="ZoneTexte 18">
            <a:extLst>
              <a:ext uri="{FF2B5EF4-FFF2-40B4-BE49-F238E27FC236}">
                <a16:creationId xmlns:a16="http://schemas.microsoft.com/office/drawing/2014/main" id="{26830912-48E7-410D-B735-D773986757A9}"/>
              </a:ext>
            </a:extLst>
          </p:cNvPr>
          <p:cNvSpPr txBox="1"/>
          <p:nvPr/>
        </p:nvSpPr>
        <p:spPr>
          <a:xfrm>
            <a:off x="7408000" y="2792180"/>
            <a:ext cx="2160000" cy="1815882"/>
          </a:xfrm>
          <a:prstGeom prst="rect">
            <a:avLst/>
          </a:prstGeom>
          <a:noFill/>
        </p:spPr>
        <p:txBody>
          <a:bodyPr wrap="square" rtlCol="0">
            <a:spAutoFit/>
          </a:bodyPr>
          <a:lstStyle/>
          <a:p>
            <a:pPr algn="ctr"/>
            <a:r>
              <a:rPr lang="fr-FR" sz="1400" b="1" dirty="0"/>
              <a:t>Interdisciplinarité</a:t>
            </a:r>
          </a:p>
          <a:p>
            <a:pPr algn="just"/>
            <a:br>
              <a:rPr lang="en-US" sz="1400" dirty="0"/>
            </a:br>
            <a:r>
              <a:rPr lang="en-US" sz="1200" dirty="0" err="1">
                <a:solidFill>
                  <a:srgbClr val="000000"/>
                </a:solidFill>
              </a:rPr>
              <a:t>Récompense</a:t>
            </a:r>
            <a:r>
              <a:rPr lang="en-US" sz="1200" dirty="0">
                <a:solidFill>
                  <a:srgbClr val="000000"/>
                </a:solidFill>
              </a:rPr>
              <a:t> </a:t>
            </a:r>
            <a:r>
              <a:rPr lang="en-US" sz="1200" dirty="0" err="1">
                <a:solidFill>
                  <a:srgbClr val="000000"/>
                </a:solidFill>
              </a:rPr>
              <a:t>l'équipe</a:t>
            </a:r>
            <a:r>
              <a:rPr lang="en-US" sz="1200" dirty="0">
                <a:solidFill>
                  <a:srgbClr val="000000"/>
                </a:solidFill>
              </a:rPr>
              <a:t> qui a </a:t>
            </a:r>
            <a:r>
              <a:rPr lang="en-US" sz="1200" dirty="0" err="1">
                <a:solidFill>
                  <a:srgbClr val="000000"/>
                </a:solidFill>
              </a:rPr>
              <a:t>su</a:t>
            </a:r>
            <a:r>
              <a:rPr lang="en-US" sz="1200" dirty="0">
                <a:solidFill>
                  <a:srgbClr val="000000"/>
                </a:solidFill>
              </a:rPr>
              <a:t> le </a:t>
            </a:r>
            <a:r>
              <a:rPr lang="en-US" sz="1200" dirty="0" err="1">
                <a:solidFill>
                  <a:srgbClr val="000000"/>
                </a:solidFill>
              </a:rPr>
              <a:t>mieux</a:t>
            </a:r>
            <a:r>
              <a:rPr lang="en-US" sz="1200" dirty="0">
                <a:solidFill>
                  <a:srgbClr val="000000"/>
                </a:solidFill>
              </a:rPr>
              <a:t> combiner </a:t>
            </a:r>
            <a:r>
              <a:rPr lang="en-US" sz="1200" b="1" dirty="0" err="1">
                <a:solidFill>
                  <a:srgbClr val="000000"/>
                </a:solidFill>
              </a:rPr>
              <a:t>plusieurs</a:t>
            </a:r>
            <a:r>
              <a:rPr lang="en-US" sz="1200" b="1" dirty="0">
                <a:solidFill>
                  <a:srgbClr val="000000"/>
                </a:solidFill>
              </a:rPr>
              <a:t> disciplines </a:t>
            </a:r>
            <a:r>
              <a:rPr lang="en-US" sz="1200" dirty="0">
                <a:solidFill>
                  <a:srgbClr val="000000"/>
                </a:solidFill>
              </a:rPr>
              <a:t>dans la </a:t>
            </a:r>
            <a:r>
              <a:rPr lang="en-US" sz="1200" dirty="0" err="1">
                <a:solidFill>
                  <a:srgbClr val="000000"/>
                </a:solidFill>
              </a:rPr>
              <a:t>réalisation</a:t>
            </a:r>
            <a:r>
              <a:rPr lang="en-US" sz="1200" dirty="0">
                <a:solidFill>
                  <a:srgbClr val="000000"/>
                </a:solidFill>
              </a:rPr>
              <a:t> du dossier de démarche </a:t>
            </a:r>
            <a:r>
              <a:rPr lang="en-US" sz="1200" dirty="0" err="1">
                <a:solidFill>
                  <a:srgbClr val="000000"/>
                </a:solidFill>
              </a:rPr>
              <a:t>scientifique</a:t>
            </a:r>
            <a:r>
              <a:rPr lang="en-US" sz="1200" dirty="0">
                <a:solidFill>
                  <a:srgbClr val="000000"/>
                </a:solidFill>
              </a:rPr>
              <a:t> et de la </a:t>
            </a:r>
            <a:r>
              <a:rPr lang="en-US" sz="1200" dirty="0" err="1">
                <a:solidFill>
                  <a:srgbClr val="000000"/>
                </a:solidFill>
              </a:rPr>
              <a:t>vidéo</a:t>
            </a:r>
            <a:r>
              <a:rPr lang="en-US" sz="1200" dirty="0">
                <a:solidFill>
                  <a:srgbClr val="000000"/>
                </a:solidFill>
              </a:rPr>
              <a:t> </a:t>
            </a:r>
            <a:r>
              <a:rPr lang="en-US" sz="1200" dirty="0" err="1">
                <a:solidFill>
                  <a:srgbClr val="000000"/>
                </a:solidFill>
              </a:rPr>
              <a:t>d'opportunité</a:t>
            </a:r>
            <a:r>
              <a:rPr lang="en-US" sz="1200" dirty="0">
                <a:solidFill>
                  <a:srgbClr val="000000"/>
                </a:solidFill>
              </a:rPr>
              <a:t> </a:t>
            </a:r>
            <a:r>
              <a:rPr lang="en-US" sz="1200" dirty="0" err="1">
                <a:solidFill>
                  <a:srgbClr val="000000"/>
                </a:solidFill>
              </a:rPr>
              <a:t>commerciale</a:t>
            </a:r>
            <a:r>
              <a:rPr lang="en-US" sz="1200" dirty="0">
                <a:solidFill>
                  <a:srgbClr val="000000"/>
                </a:solidFill>
              </a:rPr>
              <a:t>.</a:t>
            </a:r>
            <a:endParaRPr lang="fr-FR" sz="1400" dirty="0"/>
          </a:p>
        </p:txBody>
      </p:sp>
      <p:sp>
        <p:nvSpPr>
          <p:cNvPr id="20" name="ZoneTexte 19">
            <a:extLst>
              <a:ext uri="{FF2B5EF4-FFF2-40B4-BE49-F238E27FC236}">
                <a16:creationId xmlns:a16="http://schemas.microsoft.com/office/drawing/2014/main" id="{847AB6F8-8CC8-446D-8E17-C29A67716588}"/>
              </a:ext>
            </a:extLst>
          </p:cNvPr>
          <p:cNvSpPr txBox="1"/>
          <p:nvPr/>
        </p:nvSpPr>
        <p:spPr>
          <a:xfrm>
            <a:off x="9800000" y="2792180"/>
            <a:ext cx="2160000" cy="1261884"/>
          </a:xfrm>
          <a:prstGeom prst="rect">
            <a:avLst/>
          </a:prstGeom>
          <a:noFill/>
        </p:spPr>
        <p:txBody>
          <a:bodyPr wrap="square" rtlCol="0">
            <a:spAutoFit/>
          </a:bodyPr>
          <a:lstStyle/>
          <a:p>
            <a:pPr algn="ctr"/>
            <a:r>
              <a:rPr lang="fr-FR" sz="1400" b="1" dirty="0"/>
              <a:t>Innovation</a:t>
            </a:r>
          </a:p>
          <a:p>
            <a:endParaRPr lang="fr-FR" sz="1400" dirty="0"/>
          </a:p>
          <a:p>
            <a:pPr algn="just"/>
            <a:r>
              <a:rPr lang="fr-FR" sz="1200" dirty="0"/>
              <a:t>L'innovation récompense l'équipe qui a produit une </a:t>
            </a:r>
            <a:r>
              <a:rPr lang="fr-FR" sz="1200" b="1" dirty="0"/>
              <a:t>solution originale, inattendue </a:t>
            </a:r>
            <a:r>
              <a:rPr lang="fr-FR" sz="1200" dirty="0"/>
              <a:t>mais pertinente.</a:t>
            </a:r>
          </a:p>
        </p:txBody>
      </p:sp>
    </p:spTree>
    <p:extLst>
      <p:ext uri="{BB962C8B-B14F-4D97-AF65-F5344CB8AC3E}">
        <p14:creationId xmlns:p14="http://schemas.microsoft.com/office/powerpoint/2010/main" val="3497576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Livrables</a:t>
            </a:r>
            <a:endParaRPr lang="en-US" sz="2400" dirty="0">
              <a:latin typeface="Arial" panose="020B0604020202020204" pitchFamily="34" charset="0"/>
              <a:cs typeface="Arial" panose="020B0604020202020204" pitchFamily="34" charset="0"/>
            </a:endParaRPr>
          </a:p>
        </p:txBody>
      </p:sp>
      <p:grpSp>
        <p:nvGrpSpPr>
          <p:cNvPr id="53" name="Group 31">
            <a:extLst>
              <a:ext uri="{FF2B5EF4-FFF2-40B4-BE49-F238E27FC236}">
                <a16:creationId xmlns:a16="http://schemas.microsoft.com/office/drawing/2014/main" id="{741326D3-8D54-41F0-AB40-E8F9E08E219F}"/>
              </a:ext>
            </a:extLst>
          </p:cNvPr>
          <p:cNvGrpSpPr/>
          <p:nvPr/>
        </p:nvGrpSpPr>
        <p:grpSpPr>
          <a:xfrm>
            <a:off x="3479803" y="1590583"/>
            <a:ext cx="5272452" cy="1222309"/>
            <a:chOff x="1943104" y="2797586"/>
            <a:chExt cx="5272452" cy="1222309"/>
          </a:xfrm>
        </p:grpSpPr>
        <p:sp>
          <p:nvSpPr>
            <p:cNvPr id="89" name="Shape">
              <a:extLst>
                <a:ext uri="{FF2B5EF4-FFF2-40B4-BE49-F238E27FC236}">
                  <a16:creationId xmlns:a16="http://schemas.microsoft.com/office/drawing/2014/main" id="{0A07D14C-7163-428A-BC76-DC5749C63A06}"/>
                </a:ext>
              </a:extLst>
            </p:cNvPr>
            <p:cNvSpPr/>
            <p:nvPr/>
          </p:nvSpPr>
          <p:spPr>
            <a:xfrm>
              <a:off x="6520811" y="3218257"/>
              <a:ext cx="694745"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lnTo>
                    <a:pt x="16908" y="1080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2" name="Shape">
              <a:extLst>
                <a:ext uri="{FF2B5EF4-FFF2-40B4-BE49-F238E27FC236}">
                  <a16:creationId xmlns:a16="http://schemas.microsoft.com/office/drawing/2014/main" id="{FDE8E9F1-49C6-4135-B52D-39D208D826DD}"/>
                </a:ext>
              </a:extLst>
            </p:cNvPr>
            <p:cNvSpPr/>
            <p:nvPr/>
          </p:nvSpPr>
          <p:spPr>
            <a:xfrm>
              <a:off x="5090912" y="3017894"/>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19378" y="0"/>
                  </a:lnTo>
                  <a:cubicBezTo>
                    <a:pt x="20609" y="0"/>
                    <a:pt x="21600" y="2286"/>
                    <a:pt x="21600" y="5124"/>
                  </a:cubicBezTo>
                  <a:lnTo>
                    <a:pt x="21600" y="21600"/>
                  </a:lnTo>
                  <a:close/>
                </a:path>
              </a:pathLst>
            </a:custGeom>
            <a:solidFill>
              <a:srgbClr val="385D8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1">
                  <a:solidFill>
                    <a:srgbClr val="192A3F"/>
                  </a:solidFill>
                </a:rPr>
                <a:t>Pitch</a:t>
              </a:r>
              <a:br>
                <a:rPr lang="en-US" sz="1600" b="1" noProof="1">
                  <a:solidFill>
                    <a:srgbClr val="192A3F"/>
                  </a:solidFill>
                </a:rPr>
              </a:br>
              <a:r>
                <a:rPr lang="en-US" sz="1600" b="1" noProof="1">
                  <a:solidFill>
                    <a:srgbClr val="192A3F"/>
                  </a:solidFill>
                </a:rPr>
                <a:t>business</a:t>
              </a:r>
            </a:p>
          </p:txBody>
        </p:sp>
        <p:sp>
          <p:nvSpPr>
            <p:cNvPr id="93" name="Triangle">
              <a:extLst>
                <a:ext uri="{FF2B5EF4-FFF2-40B4-BE49-F238E27FC236}">
                  <a16:creationId xmlns:a16="http://schemas.microsoft.com/office/drawing/2014/main" id="{311D4B4B-C75C-4C72-981E-00B75D57B3F5}"/>
                </a:ext>
              </a:extLst>
            </p:cNvPr>
            <p:cNvSpPr/>
            <p:nvPr/>
          </p:nvSpPr>
          <p:spPr>
            <a:xfrm>
              <a:off x="6511718" y="3798055"/>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rgbClr val="243C5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4" name="Shape">
              <a:extLst>
                <a:ext uri="{FF2B5EF4-FFF2-40B4-BE49-F238E27FC236}">
                  <a16:creationId xmlns:a16="http://schemas.microsoft.com/office/drawing/2014/main" id="{3F2FD2EA-F458-4DCE-B621-36CA0F9EF4EE}"/>
                </a:ext>
              </a:extLst>
            </p:cNvPr>
            <p:cNvSpPr/>
            <p:nvPr/>
          </p:nvSpPr>
          <p:spPr>
            <a:xfrm>
              <a:off x="1943104" y="3239734"/>
              <a:ext cx="694745" cy="7801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4692" y="1080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7" name="Shape">
              <a:extLst>
                <a:ext uri="{FF2B5EF4-FFF2-40B4-BE49-F238E27FC236}">
                  <a16:creationId xmlns:a16="http://schemas.microsoft.com/office/drawing/2014/main" id="{186594CE-AA48-4A74-A45B-F4980F8B8693}"/>
                </a:ext>
              </a:extLst>
            </p:cNvPr>
            <p:cNvSpPr/>
            <p:nvPr/>
          </p:nvSpPr>
          <p:spPr>
            <a:xfrm>
              <a:off x="2250741" y="3017894"/>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2222" y="0"/>
                  </a:lnTo>
                  <a:cubicBezTo>
                    <a:pt x="991" y="0"/>
                    <a:pt x="0" y="2286"/>
                    <a:pt x="0" y="5124"/>
                  </a:cubicBezTo>
                  <a:lnTo>
                    <a:pt x="0" y="21600"/>
                  </a:lnTo>
                  <a:close/>
                </a:path>
              </a:pathLst>
            </a:custGeom>
            <a:solidFill>
              <a:srgbClr val="385D8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1">
                  <a:solidFill>
                    <a:srgbClr val="192A3F"/>
                  </a:solidFill>
                </a:rPr>
                <a:t>Dossier</a:t>
              </a:r>
              <a:br>
                <a:rPr lang="en-US" sz="1600" b="1" noProof="1">
                  <a:solidFill>
                    <a:srgbClr val="192A3F"/>
                  </a:solidFill>
                </a:rPr>
              </a:br>
              <a:r>
                <a:rPr lang="en-US" sz="1600" b="1" noProof="1">
                  <a:solidFill>
                    <a:srgbClr val="192A3F"/>
                  </a:solidFill>
                </a:rPr>
                <a:t>scientifique</a:t>
              </a:r>
            </a:p>
          </p:txBody>
        </p:sp>
        <p:sp>
          <p:nvSpPr>
            <p:cNvPr id="98" name="Triangle">
              <a:extLst>
                <a:ext uri="{FF2B5EF4-FFF2-40B4-BE49-F238E27FC236}">
                  <a16:creationId xmlns:a16="http://schemas.microsoft.com/office/drawing/2014/main" id="{EA88B643-B18E-4078-A70D-82FBBECC9F5A}"/>
                </a:ext>
              </a:extLst>
            </p:cNvPr>
            <p:cNvSpPr/>
            <p:nvPr/>
          </p:nvSpPr>
          <p:spPr>
            <a:xfrm>
              <a:off x="2250741" y="3798055"/>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0"/>
                  </a:lnTo>
                  <a:close/>
                </a:path>
              </a:pathLst>
            </a:custGeom>
            <a:solidFill>
              <a:srgbClr val="243C5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99" name="Shape">
              <a:extLst>
                <a:ext uri="{FF2B5EF4-FFF2-40B4-BE49-F238E27FC236}">
                  <a16:creationId xmlns:a16="http://schemas.microsoft.com/office/drawing/2014/main" id="{FE2AEF30-41A2-4D27-AEEC-1E8C5C5A1514}"/>
                </a:ext>
              </a:extLst>
            </p:cNvPr>
            <p:cNvSpPr/>
            <p:nvPr/>
          </p:nvSpPr>
          <p:spPr>
            <a:xfrm>
              <a:off x="3671545" y="2797586"/>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5124"/>
                  </a:lnTo>
                  <a:cubicBezTo>
                    <a:pt x="0" y="2286"/>
                    <a:pt x="991" y="0"/>
                    <a:pt x="2222" y="0"/>
                  </a:cubicBezTo>
                  <a:lnTo>
                    <a:pt x="19378" y="0"/>
                  </a:lnTo>
                  <a:cubicBezTo>
                    <a:pt x="20609" y="0"/>
                    <a:pt x="21600" y="2286"/>
                    <a:pt x="21600" y="5124"/>
                  </a:cubicBezTo>
                  <a:lnTo>
                    <a:pt x="21600" y="21600"/>
                  </a:lnTo>
                  <a:close/>
                </a:path>
              </a:pathLst>
            </a:custGeom>
            <a:solidFill>
              <a:srgbClr val="E61853"/>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2">
                      <a:lumMod val="25000"/>
                    </a:schemeClr>
                  </a:solidFill>
                </a:rPr>
                <a:t>Soumission finale</a:t>
              </a:r>
            </a:p>
          </p:txBody>
        </p:sp>
        <p:sp>
          <p:nvSpPr>
            <p:cNvPr id="100" name="Triangle">
              <a:extLst>
                <a:ext uri="{FF2B5EF4-FFF2-40B4-BE49-F238E27FC236}">
                  <a16:creationId xmlns:a16="http://schemas.microsoft.com/office/drawing/2014/main" id="{CE7641A7-F7B3-43FC-AAF4-91E59272F4BA}"/>
                </a:ext>
              </a:extLst>
            </p:cNvPr>
            <p:cNvSpPr/>
            <p:nvPr/>
          </p:nvSpPr>
          <p:spPr>
            <a:xfrm>
              <a:off x="3671547" y="3578810"/>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21600" y="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sp>
          <p:nvSpPr>
            <p:cNvPr id="101" name="Triangle">
              <a:extLst>
                <a:ext uri="{FF2B5EF4-FFF2-40B4-BE49-F238E27FC236}">
                  <a16:creationId xmlns:a16="http://schemas.microsoft.com/office/drawing/2014/main" id="{DE2330CD-02C4-4AE6-BE2E-3042C4DDAE95}"/>
                </a:ext>
              </a:extLst>
            </p:cNvPr>
            <p:cNvSpPr/>
            <p:nvPr/>
          </p:nvSpPr>
          <p:spPr>
            <a:xfrm>
              <a:off x="5090912" y="3578810"/>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rgbClr val="9C1038"/>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p>
          </p:txBody>
        </p:sp>
      </p:grpSp>
      <p:grpSp>
        <p:nvGrpSpPr>
          <p:cNvPr id="56" name="Group 59">
            <a:extLst>
              <a:ext uri="{FF2B5EF4-FFF2-40B4-BE49-F238E27FC236}">
                <a16:creationId xmlns:a16="http://schemas.microsoft.com/office/drawing/2014/main" id="{9B991817-26A4-4F89-B09D-39D933C07363}"/>
              </a:ext>
            </a:extLst>
          </p:cNvPr>
          <p:cNvGrpSpPr/>
          <p:nvPr/>
        </p:nvGrpSpPr>
        <p:grpSpPr>
          <a:xfrm>
            <a:off x="8184041" y="3006947"/>
            <a:ext cx="2194560" cy="1406197"/>
            <a:chOff x="8921977" y="820395"/>
            <a:chExt cx="2926080" cy="1874928"/>
          </a:xfrm>
        </p:grpSpPr>
        <p:sp>
          <p:nvSpPr>
            <p:cNvPr id="83" name="TextBox 60">
              <a:extLst>
                <a:ext uri="{FF2B5EF4-FFF2-40B4-BE49-F238E27FC236}">
                  <a16:creationId xmlns:a16="http://schemas.microsoft.com/office/drawing/2014/main" id="{A4D2AC14-B16B-48E0-93D1-37A704A7D77D}"/>
                </a:ext>
              </a:extLst>
            </p:cNvPr>
            <p:cNvSpPr txBox="1"/>
            <p:nvPr/>
          </p:nvSpPr>
          <p:spPr>
            <a:xfrm>
              <a:off x="8921977" y="820395"/>
              <a:ext cx="2926080" cy="110799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noProof="1">
                  <a:solidFill>
                    <a:srgbClr val="385D8A"/>
                  </a:solidFill>
                </a:rPr>
                <a:t>PITCH BUSINESS</a:t>
              </a:r>
            </a:p>
          </p:txBody>
        </p:sp>
        <p:sp>
          <p:nvSpPr>
            <p:cNvPr id="84" name="TextBox 61">
              <a:extLst>
                <a:ext uri="{FF2B5EF4-FFF2-40B4-BE49-F238E27FC236}">
                  <a16:creationId xmlns:a16="http://schemas.microsoft.com/office/drawing/2014/main" id="{EAA4144B-DFE4-449F-B0A6-18B07FE3E8EA}"/>
                </a:ext>
              </a:extLst>
            </p:cNvPr>
            <p:cNvSpPr txBox="1"/>
            <p:nvPr/>
          </p:nvSpPr>
          <p:spPr>
            <a:xfrm>
              <a:off x="8921977" y="1925882"/>
              <a:ext cx="2926080" cy="769441"/>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Font typeface="Arial" panose="020B0604020202020204" pitchFamily="34" charset="0"/>
                <a:buChar char="•"/>
              </a:pPr>
              <a:r>
                <a:rPr lang="en-US" sz="1050" noProof="1">
                  <a:solidFill>
                    <a:srgbClr val="192A3F"/>
                  </a:solidFill>
                </a:rPr>
                <a:t>Vidéo courte de 2 min.</a:t>
              </a:r>
            </a:p>
            <a:p>
              <a:pPr marL="171450" indent="-171450" algn="just">
                <a:buFont typeface="Arial" panose="020B0604020202020204" pitchFamily="34" charset="0"/>
                <a:buChar char="•"/>
              </a:pPr>
              <a:r>
                <a:rPr lang="fr-FR" sz="1050" dirty="0">
                  <a:solidFill>
                    <a:srgbClr val="192A3F"/>
                  </a:solidFill>
                </a:rPr>
                <a:t>Explorer l'impact commercial et/ou sociétal du sujet.</a:t>
              </a:r>
              <a:endParaRPr lang="en-US" sz="1050" noProof="1">
                <a:solidFill>
                  <a:srgbClr val="192A3F"/>
                </a:solidFill>
              </a:endParaRPr>
            </a:p>
          </p:txBody>
        </p:sp>
      </p:grpSp>
      <p:grpSp>
        <p:nvGrpSpPr>
          <p:cNvPr id="57" name="Group 65">
            <a:extLst>
              <a:ext uri="{FF2B5EF4-FFF2-40B4-BE49-F238E27FC236}">
                <a16:creationId xmlns:a16="http://schemas.microsoft.com/office/drawing/2014/main" id="{08B65C16-6A60-4A92-BD73-9AE1854AFBDB}"/>
              </a:ext>
            </a:extLst>
          </p:cNvPr>
          <p:cNvGrpSpPr/>
          <p:nvPr/>
        </p:nvGrpSpPr>
        <p:grpSpPr>
          <a:xfrm>
            <a:off x="1661797" y="3006947"/>
            <a:ext cx="2391360" cy="3183607"/>
            <a:chOff x="332936" y="1981436"/>
            <a:chExt cx="2926080" cy="4244806"/>
          </a:xfrm>
        </p:grpSpPr>
        <p:sp>
          <p:nvSpPr>
            <p:cNvPr id="81" name="TextBox 66">
              <a:extLst>
                <a:ext uri="{FF2B5EF4-FFF2-40B4-BE49-F238E27FC236}">
                  <a16:creationId xmlns:a16="http://schemas.microsoft.com/office/drawing/2014/main" id="{C9F2B1B0-90E1-42FA-8315-4F46129E8101}"/>
                </a:ext>
              </a:extLst>
            </p:cNvPr>
            <p:cNvSpPr txBox="1"/>
            <p:nvPr/>
          </p:nvSpPr>
          <p:spPr>
            <a:xfrm>
              <a:off x="332936" y="1981436"/>
              <a:ext cx="2926080" cy="110799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400" b="1" noProof="1">
                  <a:solidFill>
                    <a:srgbClr val="385D8A"/>
                  </a:solidFill>
                </a:rPr>
                <a:t>DOSSIER SCIENTIFIQUE</a:t>
              </a:r>
            </a:p>
          </p:txBody>
        </p:sp>
        <p:sp>
          <p:nvSpPr>
            <p:cNvPr id="82" name="TextBox 67">
              <a:extLst>
                <a:ext uri="{FF2B5EF4-FFF2-40B4-BE49-F238E27FC236}">
                  <a16:creationId xmlns:a16="http://schemas.microsoft.com/office/drawing/2014/main" id="{6BE9B6AC-6751-43D8-B556-02BE13E4223E}"/>
                </a:ext>
              </a:extLst>
            </p:cNvPr>
            <p:cNvSpPr txBox="1"/>
            <p:nvPr/>
          </p:nvSpPr>
          <p:spPr>
            <a:xfrm>
              <a:off x="332936" y="3086923"/>
              <a:ext cx="2926080" cy="3139319"/>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n-US" sz="1050" b="1" i="0" u="none" strike="noStrike" dirty="0">
                  <a:solidFill>
                    <a:srgbClr val="004575"/>
                  </a:solidFill>
                  <a:effectLst/>
                  <a:latin typeface="+mj-lt"/>
                </a:rPr>
                <a:t>1. Vue </a:t>
              </a:r>
              <a:r>
                <a:rPr lang="en-US" sz="1050" b="1" i="0" u="none" strike="noStrike" dirty="0" err="1">
                  <a:solidFill>
                    <a:srgbClr val="004575"/>
                  </a:solidFill>
                  <a:effectLst/>
                  <a:latin typeface="+mj-lt"/>
                </a:rPr>
                <a:t>d’ensemble</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Contexte</a:t>
              </a:r>
              <a:r>
                <a:rPr lang="en-US" sz="1050" dirty="0">
                  <a:solidFill>
                    <a:srgbClr val="000000"/>
                  </a:solidFill>
                  <a:latin typeface="+mj-lt"/>
                </a:rPr>
                <a:t> du </a:t>
              </a:r>
              <a:r>
                <a:rPr lang="en-US" sz="1050" dirty="0" err="1">
                  <a:solidFill>
                    <a:srgbClr val="000000"/>
                  </a:solidFill>
                  <a:latin typeface="+mj-lt"/>
                </a:rPr>
                <a:t>projet</a:t>
              </a:r>
              <a:r>
                <a:rPr lang="en-US" sz="1050" dirty="0">
                  <a:solidFill>
                    <a:srgbClr val="000000"/>
                  </a:solidFill>
                  <a:latin typeface="+mj-lt"/>
                </a:rPr>
                <a:t> et description  </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a:solidFill>
                    <a:srgbClr val="000000"/>
                  </a:solidFill>
                  <a:latin typeface="+mj-lt"/>
                </a:rPr>
                <a:t>Scope du </a:t>
              </a:r>
              <a:r>
                <a:rPr lang="en-US" sz="1050" dirty="0" err="1">
                  <a:solidFill>
                    <a:srgbClr val="000000"/>
                  </a:solidFill>
                  <a:latin typeface="+mj-lt"/>
                </a:rPr>
                <a:t>projet</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Présentation</a:t>
              </a:r>
              <a:r>
                <a:rPr lang="en-US" sz="1050" dirty="0">
                  <a:solidFill>
                    <a:srgbClr val="000000"/>
                  </a:solidFill>
                  <a:latin typeface="+mj-lt"/>
                </a:rPr>
                <a:t> du </a:t>
              </a:r>
              <a:r>
                <a:rPr lang="en-US" sz="1050" dirty="0" err="1">
                  <a:solidFill>
                    <a:srgbClr val="000000"/>
                  </a:solidFill>
                  <a:latin typeface="+mj-lt"/>
                </a:rPr>
                <a:t>groupe</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a:solidFill>
                    <a:srgbClr val="000000"/>
                  </a:solidFill>
                  <a:latin typeface="+mj-lt"/>
                </a:rPr>
                <a:t>Gestion des </a:t>
              </a:r>
              <a:r>
                <a:rPr lang="en-US" sz="1050" dirty="0" err="1">
                  <a:solidFill>
                    <a:srgbClr val="000000"/>
                  </a:solidFill>
                  <a:latin typeface="+mj-lt"/>
                </a:rPr>
                <a:t>tâches</a:t>
              </a:r>
              <a:r>
                <a:rPr lang="en-US" sz="1050" b="0" i="0" dirty="0">
                  <a:solidFill>
                    <a:srgbClr val="000000"/>
                  </a:solidFill>
                  <a:effectLst/>
                  <a:latin typeface="+mj-lt"/>
                </a:rPr>
                <a:t>​</a:t>
              </a:r>
            </a:p>
            <a:p>
              <a:pPr algn="l" rtl="0" fontAlgn="base"/>
              <a:endParaRPr lang="en-US" sz="1050" dirty="0">
                <a:solidFill>
                  <a:srgbClr val="000000"/>
                </a:solidFill>
                <a:latin typeface="+mj-lt"/>
              </a:endParaRPr>
            </a:p>
            <a:p>
              <a:pPr fontAlgn="base"/>
              <a:r>
                <a:rPr lang="en-US" sz="1050" b="1" dirty="0">
                  <a:solidFill>
                    <a:srgbClr val="004575"/>
                  </a:solidFill>
                  <a:latin typeface="+mj-lt"/>
                </a:rPr>
                <a:t>2. Gestion de </a:t>
              </a:r>
              <a:r>
                <a:rPr lang="en-US" sz="1050" b="1" dirty="0" err="1">
                  <a:solidFill>
                    <a:srgbClr val="004575"/>
                  </a:solidFill>
                  <a:latin typeface="+mj-lt"/>
                </a:rPr>
                <a:t>projet</a:t>
              </a:r>
              <a:endParaRPr lang="en-US" sz="1050" b="1" dirty="0">
                <a:solidFill>
                  <a:srgbClr val="004575"/>
                </a:solidFill>
                <a:latin typeface="+mj-lt"/>
              </a:endParaRPr>
            </a:p>
            <a:p>
              <a:pPr marL="171450" indent="-171450" fontAlgn="base">
                <a:buFont typeface="Arial" panose="020B0604020202020204" pitchFamily="34" charset="0"/>
                <a:buChar char="•"/>
              </a:pPr>
              <a:r>
                <a:rPr lang="en-US" sz="1050" dirty="0" err="1">
                  <a:solidFill>
                    <a:srgbClr val="000000"/>
                  </a:solidFill>
                  <a:latin typeface="+mj-lt"/>
                </a:rPr>
                <a:t>Compréhension</a:t>
              </a:r>
              <a:r>
                <a:rPr lang="en-US" sz="1050" dirty="0">
                  <a:solidFill>
                    <a:srgbClr val="000000"/>
                  </a:solidFill>
                  <a:latin typeface="+mj-lt"/>
                </a:rPr>
                <a:t> des </a:t>
              </a:r>
              <a:r>
                <a:rPr lang="en-US" sz="1050" dirty="0" err="1">
                  <a:solidFill>
                    <a:srgbClr val="000000"/>
                  </a:solidFill>
                  <a:latin typeface="+mj-lt"/>
                </a:rPr>
                <a:t>données</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Prétraitement</a:t>
              </a:r>
              <a:r>
                <a:rPr lang="en-US" sz="1050" dirty="0">
                  <a:solidFill>
                    <a:srgbClr val="000000"/>
                  </a:solidFill>
                  <a:latin typeface="+mj-lt"/>
                </a:rPr>
                <a:t> des </a:t>
              </a:r>
              <a:r>
                <a:rPr lang="en-US" sz="1050" dirty="0" err="1">
                  <a:solidFill>
                    <a:srgbClr val="000000"/>
                  </a:solidFill>
                  <a:latin typeface="+mj-lt"/>
                </a:rPr>
                <a:t>données</a:t>
              </a:r>
              <a:r>
                <a:rPr lang="en-US" sz="1050" b="0" i="0" dirty="0">
                  <a:solidFill>
                    <a:srgbClr val="000000"/>
                  </a:solidFill>
                  <a:effectLst/>
                  <a:latin typeface="+mj-lt"/>
                </a:rPr>
                <a:t>​</a:t>
              </a:r>
            </a:p>
            <a:p>
              <a:pPr marL="171450" indent="-171450" algn="l" rtl="0" fontAlgn="base">
                <a:buFont typeface="Arial" panose="020B0604020202020204" pitchFamily="34" charset="0"/>
                <a:buChar char="•"/>
              </a:pPr>
              <a:r>
                <a:rPr lang="en-US" sz="1050" b="0" i="0" u="none" strike="noStrike" dirty="0" err="1">
                  <a:solidFill>
                    <a:srgbClr val="000000"/>
                  </a:solidFill>
                  <a:effectLst/>
                  <a:latin typeface="+mj-lt"/>
                </a:rPr>
                <a:t>Modélisation</a:t>
              </a:r>
              <a:r>
                <a:rPr lang="en-US" sz="1050" b="0" i="0" dirty="0">
                  <a:solidFill>
                    <a:srgbClr val="000000"/>
                  </a:solidFill>
                  <a:effectLst/>
                  <a:latin typeface="+mj-lt"/>
                </a:rPr>
                <a:t>​</a:t>
              </a:r>
            </a:p>
            <a:p>
              <a:pPr marL="171450" indent="-171450" fontAlgn="base">
                <a:buFont typeface="Arial" panose="020B0604020202020204" pitchFamily="34" charset="0"/>
                <a:buChar char="•"/>
              </a:pPr>
              <a:r>
                <a:rPr lang="en-US" sz="1050" dirty="0" err="1">
                  <a:solidFill>
                    <a:srgbClr val="000000"/>
                  </a:solidFill>
                  <a:latin typeface="+mj-lt"/>
                </a:rPr>
                <a:t>Stratégie</a:t>
              </a:r>
              <a:r>
                <a:rPr lang="en-US" sz="1050" dirty="0">
                  <a:solidFill>
                    <a:srgbClr val="000000"/>
                  </a:solidFill>
                  <a:latin typeface="+mj-lt"/>
                </a:rPr>
                <a:t> de </a:t>
              </a:r>
              <a:r>
                <a:rPr lang="en-US" sz="1050" dirty="0" err="1">
                  <a:solidFill>
                    <a:srgbClr val="000000"/>
                  </a:solidFill>
                  <a:latin typeface="+mj-lt"/>
                </a:rPr>
                <a:t>déploiement</a:t>
              </a:r>
              <a:r>
                <a:rPr lang="en-US" sz="1050" b="0" i="0" dirty="0">
                  <a:solidFill>
                    <a:srgbClr val="000000"/>
                  </a:solidFill>
                  <a:effectLst/>
                  <a:latin typeface="+mj-lt"/>
                </a:rPr>
                <a:t>​</a:t>
              </a:r>
            </a:p>
            <a:p>
              <a:pPr algn="l" rtl="0" fontAlgn="base"/>
              <a:endParaRPr lang="en-US" sz="1050" dirty="0">
                <a:solidFill>
                  <a:srgbClr val="000000"/>
                </a:solidFill>
                <a:latin typeface="+mj-lt"/>
              </a:endParaRPr>
            </a:p>
            <a:p>
              <a:pPr fontAlgn="base"/>
              <a:r>
                <a:rPr lang="en-US" sz="1050" b="1" i="0" u="none" strike="noStrike" dirty="0">
                  <a:solidFill>
                    <a:srgbClr val="004575"/>
                  </a:solidFill>
                  <a:effectLst/>
                  <a:latin typeface="+mj-lt"/>
                </a:rPr>
                <a:t>3</a:t>
              </a:r>
              <a:r>
                <a:rPr lang="en-US" sz="1050" b="1" dirty="0">
                  <a:solidFill>
                    <a:srgbClr val="004575"/>
                  </a:solidFill>
                  <a:latin typeface="+mj-lt"/>
                </a:rPr>
                <a:t>. Limitation de </a:t>
              </a:r>
              <a:r>
                <a:rPr lang="en-US" sz="1050" b="1" dirty="0" err="1">
                  <a:solidFill>
                    <a:srgbClr val="004575"/>
                  </a:solidFill>
                  <a:latin typeface="+mj-lt"/>
                </a:rPr>
                <a:t>l’empreinte</a:t>
              </a:r>
              <a:r>
                <a:rPr lang="en-US" sz="1050" b="1" dirty="0">
                  <a:solidFill>
                    <a:srgbClr val="004575"/>
                  </a:solidFill>
                  <a:latin typeface="+mj-lt"/>
                </a:rPr>
                <a:t> </a:t>
              </a:r>
              <a:r>
                <a:rPr lang="en-US" sz="1050" b="1" dirty="0" err="1">
                  <a:solidFill>
                    <a:srgbClr val="004575"/>
                  </a:solidFill>
                  <a:latin typeface="+mj-lt"/>
                </a:rPr>
                <a:t>carbone</a:t>
              </a:r>
              <a:r>
                <a:rPr lang="en-US" sz="1050" b="0" i="0" dirty="0">
                  <a:solidFill>
                    <a:srgbClr val="000000"/>
                  </a:solidFill>
                  <a:effectLst/>
                  <a:latin typeface="+mj-lt"/>
                </a:rPr>
                <a:t>​</a:t>
              </a:r>
            </a:p>
            <a:p>
              <a:pPr algn="l" rtl="0" fontAlgn="base"/>
              <a:r>
                <a:rPr lang="en-US" sz="1050" b="1" i="0" u="none" strike="noStrike" dirty="0">
                  <a:solidFill>
                    <a:srgbClr val="004575"/>
                  </a:solidFill>
                  <a:effectLst/>
                  <a:latin typeface="+mj-lt"/>
                </a:rPr>
                <a:t>4. Conclusion</a:t>
              </a:r>
              <a:endParaRPr lang="en-US" sz="1050" b="0" i="0" dirty="0">
                <a:solidFill>
                  <a:srgbClr val="000000"/>
                </a:solidFill>
                <a:effectLst/>
                <a:latin typeface="+mj-lt"/>
              </a:endParaRPr>
            </a:p>
          </p:txBody>
        </p:sp>
      </p:grpSp>
      <p:grpSp>
        <p:nvGrpSpPr>
          <p:cNvPr id="59" name="Group 71">
            <a:extLst>
              <a:ext uri="{FF2B5EF4-FFF2-40B4-BE49-F238E27FC236}">
                <a16:creationId xmlns:a16="http://schemas.microsoft.com/office/drawing/2014/main" id="{32105894-AE78-4ED1-849F-278997DD4407}"/>
              </a:ext>
            </a:extLst>
          </p:cNvPr>
          <p:cNvGrpSpPr/>
          <p:nvPr/>
        </p:nvGrpSpPr>
        <p:grpSpPr>
          <a:xfrm>
            <a:off x="4980431" y="3006947"/>
            <a:ext cx="2194560" cy="2214111"/>
            <a:chOff x="8921977" y="820395"/>
            <a:chExt cx="2926080" cy="2952145"/>
          </a:xfrm>
        </p:grpSpPr>
        <p:sp>
          <p:nvSpPr>
            <p:cNvPr id="77" name="TextBox 72">
              <a:extLst>
                <a:ext uri="{FF2B5EF4-FFF2-40B4-BE49-F238E27FC236}">
                  <a16:creationId xmlns:a16="http://schemas.microsoft.com/office/drawing/2014/main" id="{58FB7B42-A3AA-4303-A766-6AABF5CEA1A8}"/>
                </a:ext>
              </a:extLst>
            </p:cNvPr>
            <p:cNvSpPr txBox="1"/>
            <p:nvPr/>
          </p:nvSpPr>
          <p:spPr>
            <a:xfrm>
              <a:off x="8921977" y="820395"/>
              <a:ext cx="2926080" cy="110799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cap="all" noProof="1">
                  <a:solidFill>
                    <a:srgbClr val="E61853"/>
                  </a:solidFill>
                </a:rPr>
                <a:t>Soumission FINALE</a:t>
              </a:r>
            </a:p>
          </p:txBody>
        </p:sp>
        <p:sp>
          <p:nvSpPr>
            <p:cNvPr id="78" name="TextBox 73">
              <a:extLst>
                <a:ext uri="{FF2B5EF4-FFF2-40B4-BE49-F238E27FC236}">
                  <a16:creationId xmlns:a16="http://schemas.microsoft.com/office/drawing/2014/main" id="{11FFE07C-FF78-41B3-9BC9-588D2AF402DB}"/>
                </a:ext>
              </a:extLst>
            </p:cNvPr>
            <p:cNvSpPr txBox="1"/>
            <p:nvPr/>
          </p:nvSpPr>
          <p:spPr>
            <a:xfrm>
              <a:off x="8921977" y="1925882"/>
              <a:ext cx="2926080" cy="1846658"/>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Font typeface="Arial" panose="020B0604020202020204" pitchFamily="34" charset="0"/>
                <a:buChar char="•"/>
              </a:pPr>
              <a:r>
                <a:rPr lang="en-US" sz="1050" noProof="1">
                  <a:solidFill>
                    <a:srgbClr val="192A3F"/>
                  </a:solidFill>
                </a:rPr>
                <a:t>Fichier au format csv dont les colonnes correspondent aux coordonnées de la sortie impose.</a:t>
              </a:r>
            </a:p>
            <a:p>
              <a:pPr marL="171450" indent="-171450" algn="just">
                <a:buFont typeface="Arial" panose="020B0604020202020204" pitchFamily="34" charset="0"/>
                <a:buChar char="•"/>
              </a:pPr>
              <a:r>
                <a:rPr lang="en-US" sz="1050" noProof="1">
                  <a:solidFill>
                    <a:srgbClr val="192A3F"/>
                  </a:solidFill>
                </a:rPr>
                <a:t>Evalution automatique de la métrqique définie via un module de la HFactory.</a:t>
              </a:r>
            </a:p>
            <a:p>
              <a:pPr marL="171450" indent="-171450" algn="just">
                <a:buFont typeface="Arial" panose="020B0604020202020204" pitchFamily="34" charset="0"/>
                <a:buChar char="•"/>
              </a:pPr>
              <a:r>
                <a:rPr lang="en-US" sz="1050" noProof="1">
                  <a:solidFill>
                    <a:srgbClr val="192A3F"/>
                  </a:solidFill>
                </a:rPr>
                <a:t>Classement basé sur la métrique scientifique.</a:t>
              </a:r>
            </a:p>
          </p:txBody>
        </p:sp>
      </p:grpSp>
      <p:pic>
        <p:nvPicPr>
          <p:cNvPr id="962" name="Graphique 961" descr="Recherche de dossiers contour">
            <a:extLst>
              <a:ext uri="{FF2B5EF4-FFF2-40B4-BE49-F238E27FC236}">
                <a16:creationId xmlns:a16="http://schemas.microsoft.com/office/drawing/2014/main" id="{A924502E-14DA-4DED-8ACF-3A71CC9B25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68686" y="1561574"/>
            <a:ext cx="540000" cy="540000"/>
          </a:xfrm>
          <a:prstGeom prst="rect">
            <a:avLst/>
          </a:prstGeom>
        </p:spPr>
      </p:pic>
      <p:pic>
        <p:nvPicPr>
          <p:cNvPr id="964" name="Graphique 963" descr="Clap contour">
            <a:extLst>
              <a:ext uri="{FF2B5EF4-FFF2-40B4-BE49-F238E27FC236}">
                <a16:creationId xmlns:a16="http://schemas.microsoft.com/office/drawing/2014/main" id="{507C2E9E-68E6-4570-A257-E2CD156C21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34674" y="1491153"/>
            <a:ext cx="540000" cy="540000"/>
          </a:xfrm>
          <a:prstGeom prst="rect">
            <a:avLst/>
          </a:prstGeom>
        </p:spPr>
      </p:pic>
      <p:pic>
        <p:nvPicPr>
          <p:cNvPr id="966" name="Graphique 965" descr="Papier avec un remplissage uni">
            <a:extLst>
              <a:ext uri="{FF2B5EF4-FFF2-40B4-BE49-F238E27FC236}">
                <a16:creationId xmlns:a16="http://schemas.microsoft.com/office/drawing/2014/main" id="{759165EF-6E6A-40EC-B152-2C59CA7108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78500" y="1181100"/>
            <a:ext cx="540000" cy="540000"/>
          </a:xfrm>
          <a:prstGeom prst="rect">
            <a:avLst/>
          </a:prstGeom>
        </p:spPr>
      </p:pic>
      <p:sp>
        <p:nvSpPr>
          <p:cNvPr id="967" name="ZoneTexte 966">
            <a:extLst>
              <a:ext uri="{FF2B5EF4-FFF2-40B4-BE49-F238E27FC236}">
                <a16:creationId xmlns:a16="http://schemas.microsoft.com/office/drawing/2014/main" id="{55CAD0BE-AD55-4963-9E1E-ADD100A24E2C}"/>
              </a:ext>
            </a:extLst>
          </p:cNvPr>
          <p:cNvSpPr txBox="1"/>
          <p:nvPr/>
        </p:nvSpPr>
        <p:spPr>
          <a:xfrm>
            <a:off x="5818195" y="1360348"/>
            <a:ext cx="476412" cy="261610"/>
          </a:xfrm>
          <a:prstGeom prst="rect">
            <a:avLst/>
          </a:prstGeom>
          <a:noFill/>
        </p:spPr>
        <p:txBody>
          <a:bodyPr wrap="none" rtlCol="0">
            <a:spAutoFit/>
          </a:bodyPr>
          <a:lstStyle/>
          <a:p>
            <a:r>
              <a:rPr lang="fr-FR" sz="1050" b="1" dirty="0"/>
              <a:t>CSV</a:t>
            </a:r>
            <a:endParaRPr lang="fr-FR" sz="1600" b="1" dirty="0"/>
          </a:p>
        </p:txBody>
      </p:sp>
    </p:spTree>
    <p:extLst>
      <p:ext uri="{BB962C8B-B14F-4D97-AF65-F5344CB8AC3E}">
        <p14:creationId xmlns:p14="http://schemas.microsoft.com/office/powerpoint/2010/main" val="42025938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3789436"/>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41346905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Composition des </a:t>
            </a:r>
            <a:r>
              <a:rPr lang="en-US" sz="2400" dirty="0" err="1">
                <a:latin typeface="Arial" panose="020B0604020202020204" pitchFamily="34" charset="0"/>
                <a:cs typeface="Arial" panose="020B0604020202020204" pitchFamily="34" charset="0"/>
              </a:rPr>
              <a:t>équipes</a:t>
            </a:r>
            <a:endParaRPr lang="en-US" sz="2400" dirty="0">
              <a:latin typeface="Arial" panose="020B0604020202020204" pitchFamily="34" charset="0"/>
              <a:cs typeface="Arial" panose="020B0604020202020204" pitchFamily="34" charset="0"/>
            </a:endParaRPr>
          </a:p>
        </p:txBody>
      </p:sp>
      <p:sp>
        <p:nvSpPr>
          <p:cNvPr id="4" name="Freeform: Shape 3">
            <a:extLst>
              <a:ext uri="{FF2B5EF4-FFF2-40B4-BE49-F238E27FC236}">
                <a16:creationId xmlns:a16="http://schemas.microsoft.com/office/drawing/2014/main" id="{8C5D7E64-E853-413C-8DA5-A2354CFEC11B}"/>
              </a:ext>
            </a:extLst>
          </p:cNvPr>
          <p:cNvSpPr/>
          <p:nvPr/>
        </p:nvSpPr>
        <p:spPr>
          <a:xfrm rot="18900000">
            <a:off x="4419695" y="3556418"/>
            <a:ext cx="1839843" cy="1480918"/>
          </a:xfrm>
          <a:custGeom>
            <a:avLst/>
            <a:gdLst>
              <a:gd name="connsiteX0" fmla="*/ 1922010 w 2092751"/>
              <a:gd name="connsiteY0" fmla="*/ 670688 h 1684487"/>
              <a:gd name="connsiteX1" fmla="*/ 2092751 w 2092751"/>
              <a:gd name="connsiteY1" fmla="*/ 670688 h 1684487"/>
              <a:gd name="connsiteX2" fmla="*/ 2092751 w 2092751"/>
              <a:gd name="connsiteY2" fmla="*/ 1013798 h 1684487"/>
              <a:gd name="connsiteX3" fmla="*/ 2092751 w 2092751"/>
              <a:gd name="connsiteY3" fmla="*/ 1184540 h 1684487"/>
              <a:gd name="connsiteX4" fmla="*/ 2092751 w 2092751"/>
              <a:gd name="connsiteY4" fmla="*/ 1403734 h 1684487"/>
              <a:gd name="connsiteX5" fmla="*/ 1811998 w 2092751"/>
              <a:gd name="connsiteY5" fmla="*/ 1684487 h 1684487"/>
              <a:gd name="connsiteX6" fmla="*/ 1619295 w 2092751"/>
              <a:gd name="connsiteY6" fmla="*/ 1684487 h 1684487"/>
              <a:gd name="connsiteX7" fmla="*/ 1619295 w 2092751"/>
              <a:gd name="connsiteY7" fmla="*/ 1499065 h 1684487"/>
              <a:gd name="connsiteX8" fmla="*/ 1760221 w 2092751"/>
              <a:gd name="connsiteY8" fmla="*/ 1499065 h 1684487"/>
              <a:gd name="connsiteX9" fmla="*/ 1922010 w 2092751"/>
              <a:gd name="connsiteY9" fmla="*/ 1337276 h 1684487"/>
              <a:gd name="connsiteX10" fmla="*/ 1922010 w 2092751"/>
              <a:gd name="connsiteY10" fmla="*/ 1184540 h 1684487"/>
              <a:gd name="connsiteX11" fmla="*/ 1922010 w 2092751"/>
              <a:gd name="connsiteY11" fmla="*/ 1013798 h 1684487"/>
              <a:gd name="connsiteX12" fmla="*/ 671249 w 2092751"/>
              <a:gd name="connsiteY12" fmla="*/ 0 h 1684487"/>
              <a:gd name="connsiteX13" fmla="*/ 1433874 w 2092751"/>
              <a:gd name="connsiteY13" fmla="*/ 0 h 1684487"/>
              <a:gd name="connsiteX14" fmla="*/ 1619295 w 2092751"/>
              <a:gd name="connsiteY14" fmla="*/ 0 h 1684487"/>
              <a:gd name="connsiteX15" fmla="*/ 1811998 w 2092751"/>
              <a:gd name="connsiteY15" fmla="*/ 0 h 1684487"/>
              <a:gd name="connsiteX16" fmla="*/ 2092751 w 2092751"/>
              <a:gd name="connsiteY16" fmla="*/ 280753 h 1684487"/>
              <a:gd name="connsiteX17" fmla="*/ 2092751 w 2092751"/>
              <a:gd name="connsiteY17" fmla="*/ 499946 h 1684487"/>
              <a:gd name="connsiteX18" fmla="*/ 1922010 w 2092751"/>
              <a:gd name="connsiteY18" fmla="*/ 499946 h 1684487"/>
              <a:gd name="connsiteX19" fmla="*/ 1922010 w 2092751"/>
              <a:gd name="connsiteY19" fmla="*/ 347209 h 1684487"/>
              <a:gd name="connsiteX20" fmla="*/ 1760221 w 2092751"/>
              <a:gd name="connsiteY20" fmla="*/ 185420 h 1684487"/>
              <a:gd name="connsiteX21" fmla="*/ 1619295 w 2092751"/>
              <a:gd name="connsiteY21" fmla="*/ 185420 h 1684487"/>
              <a:gd name="connsiteX22" fmla="*/ 1433874 w 2092751"/>
              <a:gd name="connsiteY22" fmla="*/ 185420 h 1684487"/>
              <a:gd name="connsiteX23" fmla="*/ 723027 w 2092751"/>
              <a:gd name="connsiteY23" fmla="*/ 185420 h 1684487"/>
              <a:gd name="connsiteX24" fmla="*/ 561238 w 2092751"/>
              <a:gd name="connsiteY24" fmla="*/ 347209 h 1684487"/>
              <a:gd name="connsiteX25" fmla="*/ 561238 w 2092751"/>
              <a:gd name="connsiteY25" fmla="*/ 426798 h 1684487"/>
              <a:gd name="connsiteX26" fmla="*/ 605613 w 2092751"/>
              <a:gd name="connsiteY26" fmla="*/ 440572 h 1684487"/>
              <a:gd name="connsiteX27" fmla="*/ 871858 w 2092751"/>
              <a:gd name="connsiteY27" fmla="*/ 842244 h 1684487"/>
              <a:gd name="connsiteX28" fmla="*/ 605613 w 2092751"/>
              <a:gd name="connsiteY28" fmla="*/ 1243915 h 1684487"/>
              <a:gd name="connsiteX29" fmla="*/ 561238 w 2092751"/>
              <a:gd name="connsiteY29" fmla="*/ 1257690 h 1684487"/>
              <a:gd name="connsiteX30" fmla="*/ 561238 w 2092751"/>
              <a:gd name="connsiteY30" fmla="*/ 1337276 h 1684487"/>
              <a:gd name="connsiteX31" fmla="*/ 723027 w 2092751"/>
              <a:gd name="connsiteY31" fmla="*/ 1499065 h 1684487"/>
              <a:gd name="connsiteX32" fmla="*/ 1433874 w 2092751"/>
              <a:gd name="connsiteY32" fmla="*/ 1499065 h 1684487"/>
              <a:gd name="connsiteX33" fmla="*/ 1433874 w 2092751"/>
              <a:gd name="connsiteY33" fmla="*/ 1684487 h 1684487"/>
              <a:gd name="connsiteX34" fmla="*/ 671249 w 2092751"/>
              <a:gd name="connsiteY34" fmla="*/ 1684487 h 1684487"/>
              <a:gd name="connsiteX35" fmla="*/ 390496 w 2092751"/>
              <a:gd name="connsiteY35" fmla="*/ 1403734 h 1684487"/>
              <a:gd name="connsiteX36" fmla="*/ 390496 w 2092751"/>
              <a:gd name="connsiteY36" fmla="*/ 1273593 h 1684487"/>
              <a:gd name="connsiteX37" fmla="*/ 348074 w 2092751"/>
              <a:gd name="connsiteY37" fmla="*/ 1269316 h 1684487"/>
              <a:gd name="connsiteX38" fmla="*/ 0 w 2092751"/>
              <a:gd name="connsiteY38" fmla="*/ 842244 h 1684487"/>
              <a:gd name="connsiteX39" fmla="*/ 348074 w 2092751"/>
              <a:gd name="connsiteY39" fmla="*/ 415171 h 1684487"/>
              <a:gd name="connsiteX40" fmla="*/ 390496 w 2092751"/>
              <a:gd name="connsiteY40" fmla="*/ 410895 h 1684487"/>
              <a:gd name="connsiteX41" fmla="*/ 390496 w 2092751"/>
              <a:gd name="connsiteY41" fmla="*/ 280753 h 1684487"/>
              <a:gd name="connsiteX42" fmla="*/ 671249 w 2092751"/>
              <a:gd name="connsiteY42" fmla="*/ 0 h 16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92751" h="1684487">
                <a:moveTo>
                  <a:pt x="1922010" y="670688"/>
                </a:moveTo>
                <a:lnTo>
                  <a:pt x="2092751" y="670688"/>
                </a:lnTo>
                <a:lnTo>
                  <a:pt x="2092751" y="1013798"/>
                </a:lnTo>
                <a:lnTo>
                  <a:pt x="2092751" y="1184540"/>
                </a:lnTo>
                <a:lnTo>
                  <a:pt x="2092751" y="1403734"/>
                </a:lnTo>
                <a:cubicBezTo>
                  <a:pt x="2092751" y="1558790"/>
                  <a:pt x="1967054" y="1684487"/>
                  <a:pt x="1811998" y="1684487"/>
                </a:cubicBezTo>
                <a:lnTo>
                  <a:pt x="1619295" y="1684487"/>
                </a:lnTo>
                <a:lnTo>
                  <a:pt x="1619295" y="1499065"/>
                </a:lnTo>
                <a:lnTo>
                  <a:pt x="1760221" y="1499065"/>
                </a:lnTo>
                <a:cubicBezTo>
                  <a:pt x="1849575" y="1499065"/>
                  <a:pt x="1922010" y="1426630"/>
                  <a:pt x="1922010" y="1337276"/>
                </a:cubicBezTo>
                <a:lnTo>
                  <a:pt x="1922010" y="1184540"/>
                </a:lnTo>
                <a:lnTo>
                  <a:pt x="1922010" y="1013798"/>
                </a:lnTo>
                <a:close/>
                <a:moveTo>
                  <a:pt x="671249" y="0"/>
                </a:moveTo>
                <a:lnTo>
                  <a:pt x="1433874" y="0"/>
                </a:lnTo>
                <a:lnTo>
                  <a:pt x="1619295" y="0"/>
                </a:lnTo>
                <a:lnTo>
                  <a:pt x="1811998" y="0"/>
                </a:lnTo>
                <a:cubicBezTo>
                  <a:pt x="1967054" y="0"/>
                  <a:pt x="2092751" y="125697"/>
                  <a:pt x="2092751" y="280753"/>
                </a:cubicBezTo>
                <a:lnTo>
                  <a:pt x="2092751" y="499946"/>
                </a:lnTo>
                <a:lnTo>
                  <a:pt x="1922010" y="499946"/>
                </a:lnTo>
                <a:lnTo>
                  <a:pt x="1922010" y="347209"/>
                </a:lnTo>
                <a:cubicBezTo>
                  <a:pt x="1922010" y="257855"/>
                  <a:pt x="1849575" y="185420"/>
                  <a:pt x="1760221" y="185420"/>
                </a:cubicBezTo>
                <a:lnTo>
                  <a:pt x="1619295" y="185420"/>
                </a:lnTo>
                <a:lnTo>
                  <a:pt x="1433874" y="185420"/>
                </a:lnTo>
                <a:lnTo>
                  <a:pt x="723027" y="185420"/>
                </a:lnTo>
                <a:cubicBezTo>
                  <a:pt x="633673" y="185420"/>
                  <a:pt x="561238" y="257855"/>
                  <a:pt x="561238" y="347209"/>
                </a:cubicBezTo>
                <a:lnTo>
                  <a:pt x="561238" y="426798"/>
                </a:lnTo>
                <a:lnTo>
                  <a:pt x="605613" y="440572"/>
                </a:lnTo>
                <a:cubicBezTo>
                  <a:pt x="762074" y="506750"/>
                  <a:pt x="871858" y="661676"/>
                  <a:pt x="871858" y="842244"/>
                </a:cubicBezTo>
                <a:cubicBezTo>
                  <a:pt x="871858" y="1022812"/>
                  <a:pt x="762074" y="1177738"/>
                  <a:pt x="605613" y="1243915"/>
                </a:cubicBezTo>
                <a:lnTo>
                  <a:pt x="561238" y="1257690"/>
                </a:lnTo>
                <a:lnTo>
                  <a:pt x="561238" y="1337276"/>
                </a:lnTo>
                <a:cubicBezTo>
                  <a:pt x="561238" y="1426630"/>
                  <a:pt x="633673" y="1499065"/>
                  <a:pt x="723027" y="1499065"/>
                </a:cubicBezTo>
                <a:lnTo>
                  <a:pt x="1433874" y="1499065"/>
                </a:lnTo>
                <a:lnTo>
                  <a:pt x="1433874" y="1684487"/>
                </a:lnTo>
                <a:lnTo>
                  <a:pt x="671249" y="1684487"/>
                </a:lnTo>
                <a:cubicBezTo>
                  <a:pt x="516193" y="1684487"/>
                  <a:pt x="390496" y="1558790"/>
                  <a:pt x="390496" y="1403734"/>
                </a:cubicBezTo>
                <a:lnTo>
                  <a:pt x="390496" y="1273593"/>
                </a:lnTo>
                <a:lnTo>
                  <a:pt x="348074" y="1269316"/>
                </a:lnTo>
                <a:cubicBezTo>
                  <a:pt x="149429" y="1228668"/>
                  <a:pt x="0" y="1052906"/>
                  <a:pt x="0" y="842244"/>
                </a:cubicBezTo>
                <a:cubicBezTo>
                  <a:pt x="0" y="631582"/>
                  <a:pt x="149429" y="455820"/>
                  <a:pt x="348074" y="415171"/>
                </a:cubicBezTo>
                <a:lnTo>
                  <a:pt x="390496" y="410895"/>
                </a:lnTo>
                <a:lnTo>
                  <a:pt x="390496" y="280753"/>
                </a:lnTo>
                <a:cubicBezTo>
                  <a:pt x="390496" y="125697"/>
                  <a:pt x="516193" y="0"/>
                  <a:pt x="671249" y="0"/>
                </a:cubicBezTo>
                <a:close/>
              </a:path>
            </a:pathLst>
          </a:cu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Freeform: Shape 4">
            <a:extLst>
              <a:ext uri="{FF2B5EF4-FFF2-40B4-BE49-F238E27FC236}">
                <a16:creationId xmlns:a16="http://schemas.microsoft.com/office/drawing/2014/main" id="{E43B2302-7510-4853-B949-894DC2DE5C53}"/>
              </a:ext>
            </a:extLst>
          </p:cNvPr>
          <p:cNvSpPr/>
          <p:nvPr/>
        </p:nvSpPr>
        <p:spPr>
          <a:xfrm rot="18900000">
            <a:off x="4606500" y="1855351"/>
            <a:ext cx="1480918" cy="1839843"/>
          </a:xfrm>
          <a:custGeom>
            <a:avLst/>
            <a:gdLst>
              <a:gd name="connsiteX0" fmla="*/ 0 w 1684487"/>
              <a:gd name="connsiteY0" fmla="*/ 1607483 h 2092751"/>
              <a:gd name="connsiteX1" fmla="*/ 185421 w 1684487"/>
              <a:gd name="connsiteY1" fmla="*/ 1607483 h 2092751"/>
              <a:gd name="connsiteX2" fmla="*/ 185421 w 1684487"/>
              <a:gd name="connsiteY2" fmla="*/ 1760220 h 2092751"/>
              <a:gd name="connsiteX3" fmla="*/ 347210 w 1684487"/>
              <a:gd name="connsiteY3" fmla="*/ 1922009 h 2092751"/>
              <a:gd name="connsiteX4" fmla="*/ 488136 w 1684487"/>
              <a:gd name="connsiteY4" fmla="*/ 1922009 h 2092751"/>
              <a:gd name="connsiteX5" fmla="*/ 658877 w 1684487"/>
              <a:gd name="connsiteY5" fmla="*/ 1922009 h 2092751"/>
              <a:gd name="connsiteX6" fmla="*/ 1001987 w 1684487"/>
              <a:gd name="connsiteY6" fmla="*/ 1922009 h 2092751"/>
              <a:gd name="connsiteX7" fmla="*/ 1001987 w 1684487"/>
              <a:gd name="connsiteY7" fmla="*/ 2092751 h 2092751"/>
              <a:gd name="connsiteX8" fmla="*/ 658877 w 1684487"/>
              <a:gd name="connsiteY8" fmla="*/ 2092751 h 2092751"/>
              <a:gd name="connsiteX9" fmla="*/ 488136 w 1684487"/>
              <a:gd name="connsiteY9" fmla="*/ 2092751 h 2092751"/>
              <a:gd name="connsiteX10" fmla="*/ 280753 w 1684487"/>
              <a:gd name="connsiteY10" fmla="*/ 2092751 h 2092751"/>
              <a:gd name="connsiteX11" fmla="*/ 0 w 1684487"/>
              <a:gd name="connsiteY11" fmla="*/ 1811998 h 2092751"/>
              <a:gd name="connsiteX12" fmla="*/ 842243 w 1684487"/>
              <a:gd name="connsiteY12" fmla="*/ 0 h 2092751"/>
              <a:gd name="connsiteX13" fmla="*/ 1269316 w 1684487"/>
              <a:gd name="connsiteY13" fmla="*/ 348074 h 2092751"/>
              <a:gd name="connsiteX14" fmla="*/ 1273592 w 1684487"/>
              <a:gd name="connsiteY14" fmla="*/ 390496 h 2092751"/>
              <a:gd name="connsiteX15" fmla="*/ 1403734 w 1684487"/>
              <a:gd name="connsiteY15" fmla="*/ 390496 h 2092751"/>
              <a:gd name="connsiteX16" fmla="*/ 1684487 w 1684487"/>
              <a:gd name="connsiteY16" fmla="*/ 671249 h 2092751"/>
              <a:gd name="connsiteX17" fmla="*/ 1684487 w 1684487"/>
              <a:gd name="connsiteY17" fmla="*/ 1422063 h 2092751"/>
              <a:gd name="connsiteX18" fmla="*/ 1684487 w 1684487"/>
              <a:gd name="connsiteY18" fmla="*/ 1607485 h 2092751"/>
              <a:gd name="connsiteX19" fmla="*/ 1684487 w 1684487"/>
              <a:gd name="connsiteY19" fmla="*/ 1811998 h 2092751"/>
              <a:gd name="connsiteX20" fmla="*/ 1403734 w 1684487"/>
              <a:gd name="connsiteY20" fmla="*/ 2092751 h 2092751"/>
              <a:gd name="connsiteX21" fmla="*/ 1172729 w 1684487"/>
              <a:gd name="connsiteY21" fmla="*/ 2092751 h 2092751"/>
              <a:gd name="connsiteX22" fmla="*/ 1172729 w 1684487"/>
              <a:gd name="connsiteY22" fmla="*/ 1922009 h 2092751"/>
              <a:gd name="connsiteX23" fmla="*/ 1337277 w 1684487"/>
              <a:gd name="connsiteY23" fmla="*/ 1922009 h 2092751"/>
              <a:gd name="connsiteX24" fmla="*/ 1499066 w 1684487"/>
              <a:gd name="connsiteY24" fmla="*/ 1760220 h 2092751"/>
              <a:gd name="connsiteX25" fmla="*/ 1499066 w 1684487"/>
              <a:gd name="connsiteY25" fmla="*/ 1607485 h 2092751"/>
              <a:gd name="connsiteX26" fmla="*/ 1499066 w 1684487"/>
              <a:gd name="connsiteY26" fmla="*/ 1422063 h 2092751"/>
              <a:gd name="connsiteX27" fmla="*/ 1499066 w 1684487"/>
              <a:gd name="connsiteY27" fmla="*/ 723026 h 2092751"/>
              <a:gd name="connsiteX28" fmla="*/ 1337277 w 1684487"/>
              <a:gd name="connsiteY28" fmla="*/ 561237 h 2092751"/>
              <a:gd name="connsiteX29" fmla="*/ 1257690 w 1684487"/>
              <a:gd name="connsiteY29" fmla="*/ 561237 h 2092751"/>
              <a:gd name="connsiteX30" fmla="*/ 1243915 w 1684487"/>
              <a:gd name="connsiteY30" fmla="*/ 605612 h 2092751"/>
              <a:gd name="connsiteX31" fmla="*/ 842243 w 1684487"/>
              <a:gd name="connsiteY31" fmla="*/ 871858 h 2092751"/>
              <a:gd name="connsiteX32" fmla="*/ 440572 w 1684487"/>
              <a:gd name="connsiteY32" fmla="*/ 605612 h 2092751"/>
              <a:gd name="connsiteX33" fmla="*/ 426797 w 1684487"/>
              <a:gd name="connsiteY33" fmla="*/ 561237 h 2092751"/>
              <a:gd name="connsiteX34" fmla="*/ 347210 w 1684487"/>
              <a:gd name="connsiteY34" fmla="*/ 561237 h 2092751"/>
              <a:gd name="connsiteX35" fmla="*/ 185421 w 1684487"/>
              <a:gd name="connsiteY35" fmla="*/ 723026 h 2092751"/>
              <a:gd name="connsiteX36" fmla="*/ 185421 w 1684487"/>
              <a:gd name="connsiteY36" fmla="*/ 1422063 h 2092751"/>
              <a:gd name="connsiteX37" fmla="*/ 0 w 1684487"/>
              <a:gd name="connsiteY37" fmla="*/ 1422063 h 2092751"/>
              <a:gd name="connsiteX38" fmla="*/ 0 w 1684487"/>
              <a:gd name="connsiteY38" fmla="*/ 671249 h 2092751"/>
              <a:gd name="connsiteX39" fmla="*/ 280753 w 1684487"/>
              <a:gd name="connsiteY39" fmla="*/ 390496 h 2092751"/>
              <a:gd name="connsiteX40" fmla="*/ 410894 w 1684487"/>
              <a:gd name="connsiteY40" fmla="*/ 390496 h 2092751"/>
              <a:gd name="connsiteX41" fmla="*/ 415171 w 1684487"/>
              <a:gd name="connsiteY41" fmla="*/ 348074 h 2092751"/>
              <a:gd name="connsiteX42" fmla="*/ 842243 w 1684487"/>
              <a:gd name="connsiteY42" fmla="*/ 0 h 209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87" h="2092751">
                <a:moveTo>
                  <a:pt x="0" y="1607483"/>
                </a:moveTo>
                <a:lnTo>
                  <a:pt x="185421" y="1607483"/>
                </a:lnTo>
                <a:lnTo>
                  <a:pt x="185421" y="1760220"/>
                </a:lnTo>
                <a:cubicBezTo>
                  <a:pt x="185421" y="1849574"/>
                  <a:pt x="257856" y="1922009"/>
                  <a:pt x="347210" y="1922009"/>
                </a:cubicBezTo>
                <a:lnTo>
                  <a:pt x="488136" y="1922009"/>
                </a:lnTo>
                <a:lnTo>
                  <a:pt x="658877" y="1922009"/>
                </a:lnTo>
                <a:lnTo>
                  <a:pt x="1001987" y="1922009"/>
                </a:lnTo>
                <a:lnTo>
                  <a:pt x="1001987" y="2092751"/>
                </a:lnTo>
                <a:lnTo>
                  <a:pt x="658877" y="2092751"/>
                </a:lnTo>
                <a:lnTo>
                  <a:pt x="488136" y="2092751"/>
                </a:lnTo>
                <a:lnTo>
                  <a:pt x="280753" y="2092751"/>
                </a:lnTo>
                <a:cubicBezTo>
                  <a:pt x="125697" y="2092751"/>
                  <a:pt x="0" y="1967054"/>
                  <a:pt x="0" y="1811998"/>
                </a:cubicBezTo>
                <a:close/>
                <a:moveTo>
                  <a:pt x="842243" y="0"/>
                </a:moveTo>
                <a:cubicBezTo>
                  <a:pt x="1052906" y="0"/>
                  <a:pt x="1228667" y="149429"/>
                  <a:pt x="1269316" y="348074"/>
                </a:cubicBezTo>
                <a:lnTo>
                  <a:pt x="1273592" y="390496"/>
                </a:lnTo>
                <a:lnTo>
                  <a:pt x="1403734" y="390496"/>
                </a:lnTo>
                <a:cubicBezTo>
                  <a:pt x="1558790" y="390496"/>
                  <a:pt x="1684487" y="516193"/>
                  <a:pt x="1684487" y="671249"/>
                </a:cubicBezTo>
                <a:lnTo>
                  <a:pt x="1684487" y="1422063"/>
                </a:lnTo>
                <a:lnTo>
                  <a:pt x="1684487" y="1607485"/>
                </a:lnTo>
                <a:lnTo>
                  <a:pt x="1684487" y="1811998"/>
                </a:lnTo>
                <a:cubicBezTo>
                  <a:pt x="1684487" y="1967054"/>
                  <a:pt x="1558790" y="2092751"/>
                  <a:pt x="1403734" y="2092751"/>
                </a:cubicBezTo>
                <a:lnTo>
                  <a:pt x="1172729" y="2092751"/>
                </a:lnTo>
                <a:lnTo>
                  <a:pt x="1172729" y="1922009"/>
                </a:lnTo>
                <a:lnTo>
                  <a:pt x="1337277" y="1922009"/>
                </a:lnTo>
                <a:cubicBezTo>
                  <a:pt x="1426631" y="1922009"/>
                  <a:pt x="1499066" y="1849574"/>
                  <a:pt x="1499066" y="1760220"/>
                </a:cubicBezTo>
                <a:lnTo>
                  <a:pt x="1499066" y="1607485"/>
                </a:lnTo>
                <a:lnTo>
                  <a:pt x="1499066" y="1422063"/>
                </a:lnTo>
                <a:lnTo>
                  <a:pt x="1499066" y="723026"/>
                </a:lnTo>
                <a:cubicBezTo>
                  <a:pt x="1499066" y="633672"/>
                  <a:pt x="1426631" y="561237"/>
                  <a:pt x="1337277" y="561237"/>
                </a:cubicBezTo>
                <a:lnTo>
                  <a:pt x="1257690" y="561237"/>
                </a:lnTo>
                <a:lnTo>
                  <a:pt x="1243915" y="605612"/>
                </a:lnTo>
                <a:cubicBezTo>
                  <a:pt x="1177737" y="762074"/>
                  <a:pt x="1022811" y="871858"/>
                  <a:pt x="842243" y="871858"/>
                </a:cubicBezTo>
                <a:cubicBezTo>
                  <a:pt x="661676" y="871858"/>
                  <a:pt x="506749" y="762074"/>
                  <a:pt x="440572" y="605612"/>
                </a:cubicBezTo>
                <a:lnTo>
                  <a:pt x="426797" y="561237"/>
                </a:lnTo>
                <a:lnTo>
                  <a:pt x="347210" y="561237"/>
                </a:lnTo>
                <a:cubicBezTo>
                  <a:pt x="257856" y="561237"/>
                  <a:pt x="185421" y="633672"/>
                  <a:pt x="185421" y="723026"/>
                </a:cubicBezTo>
                <a:lnTo>
                  <a:pt x="185421" y="1422063"/>
                </a:lnTo>
                <a:lnTo>
                  <a:pt x="0" y="1422063"/>
                </a:lnTo>
                <a:lnTo>
                  <a:pt x="0" y="671249"/>
                </a:lnTo>
                <a:cubicBezTo>
                  <a:pt x="0" y="516193"/>
                  <a:pt x="125697" y="390496"/>
                  <a:pt x="280753" y="390496"/>
                </a:cubicBezTo>
                <a:lnTo>
                  <a:pt x="410894" y="390496"/>
                </a:lnTo>
                <a:lnTo>
                  <a:pt x="415171" y="348074"/>
                </a:lnTo>
                <a:cubicBezTo>
                  <a:pt x="455820" y="149429"/>
                  <a:pt x="631581" y="0"/>
                  <a:pt x="842243" y="0"/>
                </a:cubicBezTo>
                <a:close/>
              </a:path>
            </a:pathLst>
          </a:cu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004575"/>
              </a:solidFill>
            </a:endParaRPr>
          </a:p>
        </p:txBody>
      </p:sp>
      <p:sp>
        <p:nvSpPr>
          <p:cNvPr id="6" name="Freeform: Shape 5">
            <a:extLst>
              <a:ext uri="{FF2B5EF4-FFF2-40B4-BE49-F238E27FC236}">
                <a16:creationId xmlns:a16="http://schemas.microsoft.com/office/drawing/2014/main" id="{CB69F0B3-AEC4-4D13-B0EE-4889D37521CA}"/>
              </a:ext>
            </a:extLst>
          </p:cNvPr>
          <p:cNvSpPr/>
          <p:nvPr/>
        </p:nvSpPr>
        <p:spPr>
          <a:xfrm rot="18900000">
            <a:off x="5933956" y="2042157"/>
            <a:ext cx="1839843" cy="1480918"/>
          </a:xfrm>
          <a:custGeom>
            <a:avLst/>
            <a:gdLst>
              <a:gd name="connsiteX0" fmla="*/ 682500 w 2092751"/>
              <a:gd name="connsiteY0" fmla="*/ 0 h 1684487"/>
              <a:gd name="connsiteX1" fmla="*/ 1421502 w 2092751"/>
              <a:gd name="connsiteY1" fmla="*/ 0 h 1684487"/>
              <a:gd name="connsiteX2" fmla="*/ 1702255 w 2092751"/>
              <a:gd name="connsiteY2" fmla="*/ 280753 h 1684487"/>
              <a:gd name="connsiteX3" fmla="*/ 1702255 w 2092751"/>
              <a:gd name="connsiteY3" fmla="*/ 410894 h 1684487"/>
              <a:gd name="connsiteX4" fmla="*/ 1744677 w 2092751"/>
              <a:gd name="connsiteY4" fmla="*/ 415171 h 1684487"/>
              <a:gd name="connsiteX5" fmla="*/ 2092751 w 2092751"/>
              <a:gd name="connsiteY5" fmla="*/ 842243 h 1684487"/>
              <a:gd name="connsiteX6" fmla="*/ 1744677 w 2092751"/>
              <a:gd name="connsiteY6" fmla="*/ 1269316 h 1684487"/>
              <a:gd name="connsiteX7" fmla="*/ 1702255 w 2092751"/>
              <a:gd name="connsiteY7" fmla="*/ 1273592 h 1684487"/>
              <a:gd name="connsiteX8" fmla="*/ 1702255 w 2092751"/>
              <a:gd name="connsiteY8" fmla="*/ 1403734 h 1684487"/>
              <a:gd name="connsiteX9" fmla="*/ 1421502 w 2092751"/>
              <a:gd name="connsiteY9" fmla="*/ 1684487 h 1684487"/>
              <a:gd name="connsiteX10" fmla="*/ 682500 w 2092751"/>
              <a:gd name="connsiteY10" fmla="*/ 1684487 h 1684487"/>
              <a:gd name="connsiteX11" fmla="*/ 497079 w 2092751"/>
              <a:gd name="connsiteY11" fmla="*/ 1684487 h 1684487"/>
              <a:gd name="connsiteX12" fmla="*/ 280753 w 2092751"/>
              <a:gd name="connsiteY12" fmla="*/ 1684487 h 1684487"/>
              <a:gd name="connsiteX13" fmla="*/ 0 w 2092751"/>
              <a:gd name="connsiteY13" fmla="*/ 1403734 h 1684487"/>
              <a:gd name="connsiteX14" fmla="*/ 0 w 2092751"/>
              <a:gd name="connsiteY14" fmla="*/ 1184540 h 1684487"/>
              <a:gd name="connsiteX15" fmla="*/ 170742 w 2092751"/>
              <a:gd name="connsiteY15" fmla="*/ 1184540 h 1684487"/>
              <a:gd name="connsiteX16" fmla="*/ 170742 w 2092751"/>
              <a:gd name="connsiteY16" fmla="*/ 1337277 h 1684487"/>
              <a:gd name="connsiteX17" fmla="*/ 332531 w 2092751"/>
              <a:gd name="connsiteY17" fmla="*/ 1499066 h 1684487"/>
              <a:gd name="connsiteX18" fmla="*/ 497079 w 2092751"/>
              <a:gd name="connsiteY18" fmla="*/ 1499066 h 1684487"/>
              <a:gd name="connsiteX19" fmla="*/ 682500 w 2092751"/>
              <a:gd name="connsiteY19" fmla="*/ 1499067 h 1684487"/>
              <a:gd name="connsiteX20" fmla="*/ 1369725 w 2092751"/>
              <a:gd name="connsiteY20" fmla="*/ 1499067 h 1684487"/>
              <a:gd name="connsiteX21" fmla="*/ 1531514 w 2092751"/>
              <a:gd name="connsiteY21" fmla="*/ 1337278 h 1684487"/>
              <a:gd name="connsiteX22" fmla="*/ 1531514 w 2092751"/>
              <a:gd name="connsiteY22" fmla="*/ 1257690 h 1684487"/>
              <a:gd name="connsiteX23" fmla="*/ 1487138 w 2092751"/>
              <a:gd name="connsiteY23" fmla="*/ 1243915 h 1684487"/>
              <a:gd name="connsiteX24" fmla="*/ 1220893 w 2092751"/>
              <a:gd name="connsiteY24" fmla="*/ 842243 h 1684487"/>
              <a:gd name="connsiteX25" fmla="*/ 1487138 w 2092751"/>
              <a:gd name="connsiteY25" fmla="*/ 440572 h 1684487"/>
              <a:gd name="connsiteX26" fmla="*/ 1531514 w 2092751"/>
              <a:gd name="connsiteY26" fmla="*/ 426797 h 1684487"/>
              <a:gd name="connsiteX27" fmla="*/ 1531514 w 2092751"/>
              <a:gd name="connsiteY27" fmla="*/ 347211 h 1684487"/>
              <a:gd name="connsiteX28" fmla="*/ 1369725 w 2092751"/>
              <a:gd name="connsiteY28" fmla="*/ 185422 h 1684487"/>
              <a:gd name="connsiteX29" fmla="*/ 682500 w 2092751"/>
              <a:gd name="connsiteY29" fmla="*/ 185422 h 1684487"/>
              <a:gd name="connsiteX30" fmla="*/ 280753 w 2092751"/>
              <a:gd name="connsiteY30" fmla="*/ 0 h 1684487"/>
              <a:gd name="connsiteX31" fmla="*/ 497079 w 2092751"/>
              <a:gd name="connsiteY31" fmla="*/ 0 h 1684487"/>
              <a:gd name="connsiteX32" fmla="*/ 497079 w 2092751"/>
              <a:gd name="connsiteY32" fmla="*/ 185422 h 1684487"/>
              <a:gd name="connsiteX33" fmla="*/ 332531 w 2092751"/>
              <a:gd name="connsiteY33" fmla="*/ 185422 h 1684487"/>
              <a:gd name="connsiteX34" fmla="*/ 170742 w 2092751"/>
              <a:gd name="connsiteY34" fmla="*/ 347211 h 1684487"/>
              <a:gd name="connsiteX35" fmla="*/ 170742 w 2092751"/>
              <a:gd name="connsiteY35" fmla="*/ 499946 h 1684487"/>
              <a:gd name="connsiteX36" fmla="*/ 170742 w 2092751"/>
              <a:gd name="connsiteY36" fmla="*/ 670688 h 1684487"/>
              <a:gd name="connsiteX37" fmla="*/ 170742 w 2092751"/>
              <a:gd name="connsiteY37" fmla="*/ 1013798 h 1684487"/>
              <a:gd name="connsiteX38" fmla="*/ 0 w 2092751"/>
              <a:gd name="connsiteY38" fmla="*/ 1013798 h 1684487"/>
              <a:gd name="connsiteX39" fmla="*/ 0 w 2092751"/>
              <a:gd name="connsiteY39" fmla="*/ 670688 h 1684487"/>
              <a:gd name="connsiteX40" fmla="*/ 0 w 2092751"/>
              <a:gd name="connsiteY40" fmla="*/ 499946 h 1684487"/>
              <a:gd name="connsiteX41" fmla="*/ 0 w 2092751"/>
              <a:gd name="connsiteY41" fmla="*/ 280753 h 1684487"/>
              <a:gd name="connsiteX42" fmla="*/ 280753 w 2092751"/>
              <a:gd name="connsiteY42" fmla="*/ 0 h 16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92751" h="1684487">
                <a:moveTo>
                  <a:pt x="682500" y="0"/>
                </a:moveTo>
                <a:lnTo>
                  <a:pt x="1421502" y="0"/>
                </a:lnTo>
                <a:cubicBezTo>
                  <a:pt x="1576558" y="0"/>
                  <a:pt x="1702255" y="125697"/>
                  <a:pt x="1702255" y="280753"/>
                </a:cubicBezTo>
                <a:lnTo>
                  <a:pt x="1702255" y="410894"/>
                </a:lnTo>
                <a:lnTo>
                  <a:pt x="1744677" y="415171"/>
                </a:lnTo>
                <a:cubicBezTo>
                  <a:pt x="1943322" y="455819"/>
                  <a:pt x="2092751" y="631581"/>
                  <a:pt x="2092751" y="842243"/>
                </a:cubicBezTo>
                <a:cubicBezTo>
                  <a:pt x="2092751" y="1052906"/>
                  <a:pt x="1943322" y="1228667"/>
                  <a:pt x="1744677" y="1269316"/>
                </a:cubicBezTo>
                <a:lnTo>
                  <a:pt x="1702255" y="1273592"/>
                </a:lnTo>
                <a:lnTo>
                  <a:pt x="1702255" y="1403734"/>
                </a:lnTo>
                <a:cubicBezTo>
                  <a:pt x="1702255" y="1558790"/>
                  <a:pt x="1576558" y="1684487"/>
                  <a:pt x="1421502" y="1684487"/>
                </a:cubicBezTo>
                <a:lnTo>
                  <a:pt x="682500" y="1684487"/>
                </a:lnTo>
                <a:lnTo>
                  <a:pt x="497079" y="1684487"/>
                </a:lnTo>
                <a:lnTo>
                  <a:pt x="280753" y="1684487"/>
                </a:lnTo>
                <a:cubicBezTo>
                  <a:pt x="125697" y="1684487"/>
                  <a:pt x="0" y="1558790"/>
                  <a:pt x="0" y="1403734"/>
                </a:cubicBezTo>
                <a:lnTo>
                  <a:pt x="0" y="1184540"/>
                </a:lnTo>
                <a:lnTo>
                  <a:pt x="170742" y="1184540"/>
                </a:lnTo>
                <a:lnTo>
                  <a:pt x="170742" y="1337277"/>
                </a:lnTo>
                <a:cubicBezTo>
                  <a:pt x="170742" y="1426631"/>
                  <a:pt x="243177" y="1499066"/>
                  <a:pt x="332531" y="1499066"/>
                </a:cubicBezTo>
                <a:lnTo>
                  <a:pt x="497079" y="1499066"/>
                </a:lnTo>
                <a:lnTo>
                  <a:pt x="682500" y="1499067"/>
                </a:lnTo>
                <a:lnTo>
                  <a:pt x="1369725" y="1499067"/>
                </a:lnTo>
                <a:cubicBezTo>
                  <a:pt x="1459079" y="1499067"/>
                  <a:pt x="1531514" y="1426632"/>
                  <a:pt x="1531514" y="1337278"/>
                </a:cubicBezTo>
                <a:lnTo>
                  <a:pt x="1531514" y="1257690"/>
                </a:lnTo>
                <a:lnTo>
                  <a:pt x="1487138" y="1243915"/>
                </a:lnTo>
                <a:cubicBezTo>
                  <a:pt x="1330677" y="1177737"/>
                  <a:pt x="1220893" y="1022811"/>
                  <a:pt x="1220893" y="842243"/>
                </a:cubicBezTo>
                <a:cubicBezTo>
                  <a:pt x="1220893" y="661675"/>
                  <a:pt x="1330677" y="506749"/>
                  <a:pt x="1487138" y="440572"/>
                </a:cubicBezTo>
                <a:lnTo>
                  <a:pt x="1531514" y="426797"/>
                </a:lnTo>
                <a:lnTo>
                  <a:pt x="1531514" y="347211"/>
                </a:lnTo>
                <a:cubicBezTo>
                  <a:pt x="1531514" y="257857"/>
                  <a:pt x="1459079" y="185422"/>
                  <a:pt x="1369725" y="185422"/>
                </a:cubicBezTo>
                <a:lnTo>
                  <a:pt x="682500" y="185422"/>
                </a:lnTo>
                <a:close/>
                <a:moveTo>
                  <a:pt x="280753" y="0"/>
                </a:moveTo>
                <a:lnTo>
                  <a:pt x="497079" y="0"/>
                </a:lnTo>
                <a:lnTo>
                  <a:pt x="497079" y="185422"/>
                </a:lnTo>
                <a:lnTo>
                  <a:pt x="332531" y="185422"/>
                </a:lnTo>
                <a:cubicBezTo>
                  <a:pt x="243177" y="185422"/>
                  <a:pt x="170742" y="257857"/>
                  <a:pt x="170742" y="347211"/>
                </a:cubicBezTo>
                <a:lnTo>
                  <a:pt x="170742" y="499946"/>
                </a:lnTo>
                <a:lnTo>
                  <a:pt x="170742" y="670688"/>
                </a:lnTo>
                <a:lnTo>
                  <a:pt x="170742" y="1013798"/>
                </a:lnTo>
                <a:lnTo>
                  <a:pt x="0" y="1013798"/>
                </a:lnTo>
                <a:lnTo>
                  <a:pt x="0" y="670688"/>
                </a:lnTo>
                <a:lnTo>
                  <a:pt x="0" y="499946"/>
                </a:lnTo>
                <a:lnTo>
                  <a:pt x="0" y="280753"/>
                </a:lnTo>
                <a:cubicBezTo>
                  <a:pt x="0" y="125697"/>
                  <a:pt x="125697" y="0"/>
                  <a:pt x="280753" y="0"/>
                </a:cubicBezTo>
                <a:close/>
              </a:path>
            </a:pathLst>
          </a:custGeom>
          <a:solidFill>
            <a:srgbClr val="FF00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Freeform: Shape 6">
            <a:extLst>
              <a:ext uri="{FF2B5EF4-FFF2-40B4-BE49-F238E27FC236}">
                <a16:creationId xmlns:a16="http://schemas.microsoft.com/office/drawing/2014/main" id="{D6FF65BB-1864-4C2F-9299-3A0D17EF3851}"/>
              </a:ext>
            </a:extLst>
          </p:cNvPr>
          <p:cNvSpPr/>
          <p:nvPr/>
        </p:nvSpPr>
        <p:spPr>
          <a:xfrm rot="18900000">
            <a:off x="6120761" y="3369612"/>
            <a:ext cx="1480918" cy="1839843"/>
          </a:xfrm>
          <a:custGeom>
            <a:avLst/>
            <a:gdLst>
              <a:gd name="connsiteX0" fmla="*/ 658877 w 1684487"/>
              <a:gd name="connsiteY0" fmla="*/ 0 h 2092751"/>
              <a:gd name="connsiteX1" fmla="*/ 1001987 w 1684487"/>
              <a:gd name="connsiteY1" fmla="*/ 0 h 2092751"/>
              <a:gd name="connsiteX2" fmla="*/ 1172729 w 1684487"/>
              <a:gd name="connsiteY2" fmla="*/ 0 h 2092751"/>
              <a:gd name="connsiteX3" fmla="*/ 1403734 w 1684487"/>
              <a:gd name="connsiteY3" fmla="*/ 0 h 2092751"/>
              <a:gd name="connsiteX4" fmla="*/ 1684487 w 1684487"/>
              <a:gd name="connsiteY4" fmla="*/ 280753 h 2092751"/>
              <a:gd name="connsiteX5" fmla="*/ 1684487 w 1684487"/>
              <a:gd name="connsiteY5" fmla="*/ 485269 h 2092751"/>
              <a:gd name="connsiteX6" fmla="*/ 1499066 w 1684487"/>
              <a:gd name="connsiteY6" fmla="*/ 485268 h 2092751"/>
              <a:gd name="connsiteX7" fmla="*/ 1499066 w 1684487"/>
              <a:gd name="connsiteY7" fmla="*/ 332531 h 2092751"/>
              <a:gd name="connsiteX8" fmla="*/ 1337277 w 1684487"/>
              <a:gd name="connsiteY8" fmla="*/ 170742 h 2092751"/>
              <a:gd name="connsiteX9" fmla="*/ 1172729 w 1684487"/>
              <a:gd name="connsiteY9" fmla="*/ 170742 h 2092751"/>
              <a:gd name="connsiteX10" fmla="*/ 1001987 w 1684487"/>
              <a:gd name="connsiteY10" fmla="*/ 170742 h 2092751"/>
              <a:gd name="connsiteX11" fmla="*/ 658877 w 1684487"/>
              <a:gd name="connsiteY11" fmla="*/ 170742 h 2092751"/>
              <a:gd name="connsiteX12" fmla="*/ 280753 w 1684487"/>
              <a:gd name="connsiteY12" fmla="*/ 0 h 2092751"/>
              <a:gd name="connsiteX13" fmla="*/ 488136 w 1684487"/>
              <a:gd name="connsiteY13" fmla="*/ 0 h 2092751"/>
              <a:gd name="connsiteX14" fmla="*/ 488136 w 1684487"/>
              <a:gd name="connsiteY14" fmla="*/ 170742 h 2092751"/>
              <a:gd name="connsiteX15" fmla="*/ 347210 w 1684487"/>
              <a:gd name="connsiteY15" fmla="*/ 170742 h 2092751"/>
              <a:gd name="connsiteX16" fmla="*/ 185421 w 1684487"/>
              <a:gd name="connsiteY16" fmla="*/ 332531 h 2092751"/>
              <a:gd name="connsiteX17" fmla="*/ 185421 w 1684487"/>
              <a:gd name="connsiteY17" fmla="*/ 485267 h 2092751"/>
              <a:gd name="connsiteX18" fmla="*/ 185421 w 1684487"/>
              <a:gd name="connsiteY18" fmla="*/ 670689 h 2092751"/>
              <a:gd name="connsiteX19" fmla="*/ 185421 w 1684487"/>
              <a:gd name="connsiteY19" fmla="*/ 1369725 h 2092751"/>
              <a:gd name="connsiteX20" fmla="*/ 347210 w 1684487"/>
              <a:gd name="connsiteY20" fmla="*/ 1531514 h 2092751"/>
              <a:gd name="connsiteX21" fmla="*/ 426797 w 1684487"/>
              <a:gd name="connsiteY21" fmla="*/ 1531514 h 2092751"/>
              <a:gd name="connsiteX22" fmla="*/ 440572 w 1684487"/>
              <a:gd name="connsiteY22" fmla="*/ 1487138 h 2092751"/>
              <a:gd name="connsiteX23" fmla="*/ 842244 w 1684487"/>
              <a:gd name="connsiteY23" fmla="*/ 1220893 h 2092751"/>
              <a:gd name="connsiteX24" fmla="*/ 1243915 w 1684487"/>
              <a:gd name="connsiteY24" fmla="*/ 1487138 h 2092751"/>
              <a:gd name="connsiteX25" fmla="*/ 1257690 w 1684487"/>
              <a:gd name="connsiteY25" fmla="*/ 1531514 h 2092751"/>
              <a:gd name="connsiteX26" fmla="*/ 1337277 w 1684487"/>
              <a:gd name="connsiteY26" fmla="*/ 1531514 h 2092751"/>
              <a:gd name="connsiteX27" fmla="*/ 1499066 w 1684487"/>
              <a:gd name="connsiteY27" fmla="*/ 1369725 h 2092751"/>
              <a:gd name="connsiteX28" fmla="*/ 1499066 w 1684487"/>
              <a:gd name="connsiteY28" fmla="*/ 670689 h 2092751"/>
              <a:gd name="connsiteX29" fmla="*/ 1684487 w 1684487"/>
              <a:gd name="connsiteY29" fmla="*/ 670689 h 2092751"/>
              <a:gd name="connsiteX30" fmla="*/ 1684487 w 1684487"/>
              <a:gd name="connsiteY30" fmla="*/ 1421502 h 2092751"/>
              <a:gd name="connsiteX31" fmla="*/ 1403734 w 1684487"/>
              <a:gd name="connsiteY31" fmla="*/ 1702255 h 2092751"/>
              <a:gd name="connsiteX32" fmla="*/ 1273593 w 1684487"/>
              <a:gd name="connsiteY32" fmla="*/ 1702255 h 2092751"/>
              <a:gd name="connsiteX33" fmla="*/ 1269316 w 1684487"/>
              <a:gd name="connsiteY33" fmla="*/ 1744677 h 2092751"/>
              <a:gd name="connsiteX34" fmla="*/ 842244 w 1684487"/>
              <a:gd name="connsiteY34" fmla="*/ 2092751 h 2092751"/>
              <a:gd name="connsiteX35" fmla="*/ 415171 w 1684487"/>
              <a:gd name="connsiteY35" fmla="*/ 1744677 h 2092751"/>
              <a:gd name="connsiteX36" fmla="*/ 410895 w 1684487"/>
              <a:gd name="connsiteY36" fmla="*/ 1702255 h 2092751"/>
              <a:gd name="connsiteX37" fmla="*/ 280753 w 1684487"/>
              <a:gd name="connsiteY37" fmla="*/ 1702255 h 2092751"/>
              <a:gd name="connsiteX38" fmla="*/ 0 w 1684487"/>
              <a:gd name="connsiteY38" fmla="*/ 1421502 h 2092751"/>
              <a:gd name="connsiteX39" fmla="*/ 0 w 1684487"/>
              <a:gd name="connsiteY39" fmla="*/ 670689 h 2092751"/>
              <a:gd name="connsiteX40" fmla="*/ 0 w 1684487"/>
              <a:gd name="connsiteY40" fmla="*/ 485267 h 2092751"/>
              <a:gd name="connsiteX41" fmla="*/ 0 w 1684487"/>
              <a:gd name="connsiteY41" fmla="*/ 280753 h 2092751"/>
              <a:gd name="connsiteX42" fmla="*/ 280753 w 1684487"/>
              <a:gd name="connsiteY42" fmla="*/ 0 h 209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87" h="2092751">
                <a:moveTo>
                  <a:pt x="658877" y="0"/>
                </a:moveTo>
                <a:lnTo>
                  <a:pt x="1001987" y="0"/>
                </a:lnTo>
                <a:lnTo>
                  <a:pt x="1172729" y="0"/>
                </a:lnTo>
                <a:lnTo>
                  <a:pt x="1403734" y="0"/>
                </a:lnTo>
                <a:cubicBezTo>
                  <a:pt x="1558790" y="0"/>
                  <a:pt x="1684487" y="125697"/>
                  <a:pt x="1684487" y="280753"/>
                </a:cubicBezTo>
                <a:lnTo>
                  <a:pt x="1684487" y="485269"/>
                </a:lnTo>
                <a:lnTo>
                  <a:pt x="1499066" y="485268"/>
                </a:lnTo>
                <a:lnTo>
                  <a:pt x="1499066" y="332531"/>
                </a:lnTo>
                <a:cubicBezTo>
                  <a:pt x="1499066" y="243177"/>
                  <a:pt x="1426631" y="170742"/>
                  <a:pt x="1337277" y="170742"/>
                </a:cubicBezTo>
                <a:lnTo>
                  <a:pt x="1172729" y="170742"/>
                </a:lnTo>
                <a:lnTo>
                  <a:pt x="1001987" y="170742"/>
                </a:lnTo>
                <a:lnTo>
                  <a:pt x="658877" y="170742"/>
                </a:lnTo>
                <a:close/>
                <a:moveTo>
                  <a:pt x="280753" y="0"/>
                </a:moveTo>
                <a:lnTo>
                  <a:pt x="488136" y="0"/>
                </a:lnTo>
                <a:lnTo>
                  <a:pt x="488136" y="170742"/>
                </a:lnTo>
                <a:lnTo>
                  <a:pt x="347210" y="170742"/>
                </a:lnTo>
                <a:cubicBezTo>
                  <a:pt x="257856" y="170742"/>
                  <a:pt x="185421" y="243177"/>
                  <a:pt x="185421" y="332531"/>
                </a:cubicBezTo>
                <a:lnTo>
                  <a:pt x="185421" y="485267"/>
                </a:lnTo>
                <a:lnTo>
                  <a:pt x="185421" y="670689"/>
                </a:lnTo>
                <a:lnTo>
                  <a:pt x="185421" y="1369725"/>
                </a:lnTo>
                <a:cubicBezTo>
                  <a:pt x="185421" y="1459079"/>
                  <a:pt x="257856" y="1531514"/>
                  <a:pt x="347210" y="1531514"/>
                </a:cubicBezTo>
                <a:lnTo>
                  <a:pt x="426797" y="1531514"/>
                </a:lnTo>
                <a:lnTo>
                  <a:pt x="440572" y="1487138"/>
                </a:lnTo>
                <a:cubicBezTo>
                  <a:pt x="506750" y="1330677"/>
                  <a:pt x="661676" y="1220893"/>
                  <a:pt x="842244" y="1220893"/>
                </a:cubicBezTo>
                <a:cubicBezTo>
                  <a:pt x="1022811" y="1220893"/>
                  <a:pt x="1177738" y="1330677"/>
                  <a:pt x="1243915" y="1487138"/>
                </a:cubicBezTo>
                <a:lnTo>
                  <a:pt x="1257690" y="1531514"/>
                </a:lnTo>
                <a:lnTo>
                  <a:pt x="1337277" y="1531514"/>
                </a:lnTo>
                <a:cubicBezTo>
                  <a:pt x="1426631" y="1531514"/>
                  <a:pt x="1499066" y="1459079"/>
                  <a:pt x="1499066" y="1369725"/>
                </a:cubicBezTo>
                <a:lnTo>
                  <a:pt x="1499066" y="670689"/>
                </a:lnTo>
                <a:lnTo>
                  <a:pt x="1684487" y="670689"/>
                </a:lnTo>
                <a:lnTo>
                  <a:pt x="1684487" y="1421502"/>
                </a:lnTo>
                <a:cubicBezTo>
                  <a:pt x="1684487" y="1576558"/>
                  <a:pt x="1558790" y="1702255"/>
                  <a:pt x="1403734" y="1702255"/>
                </a:cubicBezTo>
                <a:lnTo>
                  <a:pt x="1273593" y="1702255"/>
                </a:lnTo>
                <a:lnTo>
                  <a:pt x="1269316" y="1744677"/>
                </a:lnTo>
                <a:cubicBezTo>
                  <a:pt x="1228667" y="1943322"/>
                  <a:pt x="1052906" y="2092751"/>
                  <a:pt x="842244" y="2092751"/>
                </a:cubicBezTo>
                <a:cubicBezTo>
                  <a:pt x="631581" y="2092751"/>
                  <a:pt x="455820" y="1943322"/>
                  <a:pt x="415171" y="1744677"/>
                </a:cubicBezTo>
                <a:lnTo>
                  <a:pt x="410895" y="1702255"/>
                </a:lnTo>
                <a:lnTo>
                  <a:pt x="280753" y="1702255"/>
                </a:lnTo>
                <a:cubicBezTo>
                  <a:pt x="125697" y="1702255"/>
                  <a:pt x="0" y="1576558"/>
                  <a:pt x="0" y="1421502"/>
                </a:cubicBezTo>
                <a:lnTo>
                  <a:pt x="0" y="670689"/>
                </a:lnTo>
                <a:lnTo>
                  <a:pt x="0" y="485267"/>
                </a:lnTo>
                <a:lnTo>
                  <a:pt x="0" y="280753"/>
                </a:lnTo>
                <a:cubicBezTo>
                  <a:pt x="0" y="125697"/>
                  <a:pt x="125697" y="0"/>
                  <a:pt x="280753" y="0"/>
                </a:cubicBezTo>
                <a:close/>
              </a:path>
            </a:pathLst>
          </a:custGeom>
          <a:solidFill>
            <a:srgbClr val="385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TextBox 8">
            <a:extLst>
              <a:ext uri="{FF2B5EF4-FFF2-40B4-BE49-F238E27FC236}">
                <a16:creationId xmlns:a16="http://schemas.microsoft.com/office/drawing/2014/main" id="{6117149B-788C-4FC3-A9DA-3F51A4052C12}"/>
              </a:ext>
            </a:extLst>
          </p:cNvPr>
          <p:cNvSpPr txBox="1"/>
          <p:nvPr/>
        </p:nvSpPr>
        <p:spPr>
          <a:xfrm>
            <a:off x="7855666" y="2069266"/>
            <a:ext cx="2202816" cy="738664"/>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100" b="1" dirty="0" err="1">
                <a:solidFill>
                  <a:srgbClr val="FF004D"/>
                </a:solidFill>
              </a:rPr>
              <a:t>Mixité</a:t>
            </a:r>
            <a:r>
              <a:rPr lang="en-US" sz="2100" b="1" dirty="0">
                <a:solidFill>
                  <a:srgbClr val="FF004D"/>
                </a:solidFill>
              </a:rPr>
              <a:t> des </a:t>
            </a:r>
            <a:r>
              <a:rPr lang="en-US" sz="2100" b="1" dirty="0" err="1">
                <a:solidFill>
                  <a:srgbClr val="FF004D"/>
                </a:solidFill>
              </a:rPr>
              <a:t>équipes</a:t>
            </a:r>
            <a:endParaRPr lang="en-US" sz="2100" b="1" dirty="0">
              <a:solidFill>
                <a:srgbClr val="FF004D"/>
              </a:solidFill>
            </a:endParaRPr>
          </a:p>
        </p:txBody>
      </p:sp>
      <p:sp>
        <p:nvSpPr>
          <p:cNvPr id="16" name="TextBox 11">
            <a:extLst>
              <a:ext uri="{FF2B5EF4-FFF2-40B4-BE49-F238E27FC236}">
                <a16:creationId xmlns:a16="http://schemas.microsoft.com/office/drawing/2014/main" id="{8565055D-7834-4CE0-B613-4C7FB59D487D}"/>
              </a:ext>
            </a:extLst>
          </p:cNvPr>
          <p:cNvSpPr txBox="1"/>
          <p:nvPr/>
        </p:nvSpPr>
        <p:spPr>
          <a:xfrm>
            <a:off x="7855666" y="4384656"/>
            <a:ext cx="2202816" cy="738664"/>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100" b="1" dirty="0" err="1">
                <a:solidFill>
                  <a:srgbClr val="385D8A"/>
                </a:solidFill>
              </a:rPr>
              <a:t>Niveau</a:t>
            </a:r>
            <a:r>
              <a:rPr lang="en-US" sz="2100" b="1" dirty="0">
                <a:solidFill>
                  <a:srgbClr val="385D8A"/>
                </a:solidFill>
              </a:rPr>
              <a:t> </a:t>
            </a:r>
            <a:r>
              <a:rPr lang="en-US" sz="2100" b="1" dirty="0" err="1">
                <a:solidFill>
                  <a:srgbClr val="385D8A"/>
                </a:solidFill>
              </a:rPr>
              <a:t>hétérogène</a:t>
            </a:r>
            <a:endParaRPr lang="en-US" sz="2100" b="1" dirty="0">
              <a:solidFill>
                <a:srgbClr val="385D8A"/>
              </a:solidFill>
            </a:endParaRPr>
          </a:p>
        </p:txBody>
      </p:sp>
      <p:sp>
        <p:nvSpPr>
          <p:cNvPr id="14" name="TextBox 19">
            <a:extLst>
              <a:ext uri="{FF2B5EF4-FFF2-40B4-BE49-F238E27FC236}">
                <a16:creationId xmlns:a16="http://schemas.microsoft.com/office/drawing/2014/main" id="{22F8A07F-5843-4599-B9AC-AEB35DB957DF}"/>
              </a:ext>
            </a:extLst>
          </p:cNvPr>
          <p:cNvSpPr txBox="1"/>
          <p:nvPr/>
        </p:nvSpPr>
        <p:spPr>
          <a:xfrm>
            <a:off x="2138003" y="1907684"/>
            <a:ext cx="2196970" cy="738664"/>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00" b="1" dirty="0" err="1">
                <a:solidFill>
                  <a:srgbClr val="004575"/>
                </a:solidFill>
              </a:rPr>
              <a:t>Equipes</a:t>
            </a:r>
            <a:r>
              <a:rPr lang="en-US" sz="2100" b="1" dirty="0">
                <a:solidFill>
                  <a:srgbClr val="004575"/>
                </a:solidFill>
              </a:rPr>
              <a:t> de 3 à 7 </a:t>
            </a:r>
            <a:r>
              <a:rPr lang="en-US" sz="2100" b="1" dirty="0" err="1">
                <a:solidFill>
                  <a:srgbClr val="004575"/>
                </a:solidFill>
              </a:rPr>
              <a:t>personnes</a:t>
            </a:r>
            <a:endParaRPr lang="en-US" sz="2100" b="1" dirty="0">
              <a:solidFill>
                <a:srgbClr val="004575"/>
              </a:solidFill>
            </a:endParaRPr>
          </a:p>
        </p:txBody>
      </p:sp>
      <p:sp>
        <p:nvSpPr>
          <p:cNvPr id="12" name="TextBox 17">
            <a:extLst>
              <a:ext uri="{FF2B5EF4-FFF2-40B4-BE49-F238E27FC236}">
                <a16:creationId xmlns:a16="http://schemas.microsoft.com/office/drawing/2014/main" id="{3696BEFE-641C-4120-AC0B-482D0B36125B}"/>
              </a:ext>
            </a:extLst>
          </p:cNvPr>
          <p:cNvSpPr txBox="1"/>
          <p:nvPr/>
        </p:nvSpPr>
        <p:spPr>
          <a:xfrm>
            <a:off x="2132157" y="4061491"/>
            <a:ext cx="2202816" cy="1061829"/>
          </a:xfrm>
          <a:prstGeom prst="rect">
            <a:avLst/>
          </a:prstGeom>
          <a:noFill/>
        </p:spPr>
        <p:txBody>
          <a:bodyPr wrap="square" l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00" b="1" dirty="0">
                <a:solidFill>
                  <a:srgbClr val="E61853"/>
                </a:solidFill>
              </a:rPr>
              <a:t>Constitution </a:t>
            </a:r>
            <a:r>
              <a:rPr lang="en-US" sz="2100" b="1" dirty="0" err="1">
                <a:solidFill>
                  <a:srgbClr val="E61853"/>
                </a:solidFill>
              </a:rPr>
              <a:t>autonome</a:t>
            </a:r>
            <a:r>
              <a:rPr lang="en-US" sz="2100" b="1" dirty="0">
                <a:solidFill>
                  <a:srgbClr val="E61853"/>
                </a:solidFill>
              </a:rPr>
              <a:t> des </a:t>
            </a:r>
            <a:r>
              <a:rPr lang="en-US" sz="2100" b="1" dirty="0" err="1">
                <a:solidFill>
                  <a:srgbClr val="E61853"/>
                </a:solidFill>
              </a:rPr>
              <a:t>équipes</a:t>
            </a:r>
            <a:endParaRPr lang="en-US" sz="2100" b="1" dirty="0">
              <a:solidFill>
                <a:srgbClr val="E61853"/>
              </a:solidFill>
            </a:endParaRPr>
          </a:p>
        </p:txBody>
      </p:sp>
    </p:spTree>
    <p:extLst>
      <p:ext uri="{BB962C8B-B14F-4D97-AF65-F5344CB8AC3E}">
        <p14:creationId xmlns:p14="http://schemas.microsoft.com/office/powerpoint/2010/main" val="7006039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259404"/>
            <a:ext cx="15778868" cy="7117404"/>
            <a:chOff x="0" y="-259404"/>
            <a:chExt cx="15778868" cy="7117404"/>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11371602" y="-259404"/>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4655721"/>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1634668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103970" y="1267521"/>
            <a:ext cx="5452947" cy="451104"/>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276656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Logistique</a:t>
            </a:r>
            <a:endParaRPr lang="en-US" sz="2400" dirty="0">
              <a:latin typeface="Arial" panose="020B0604020202020204" pitchFamily="34" charset="0"/>
              <a:cs typeface="Arial" panose="020B0604020202020204" pitchFamily="34" charset="0"/>
            </a:endParaRPr>
          </a:p>
        </p:txBody>
      </p:sp>
      <p:sp>
        <p:nvSpPr>
          <p:cNvPr id="2" name="ZoneTexte 1">
            <a:extLst>
              <a:ext uri="{FF2B5EF4-FFF2-40B4-BE49-F238E27FC236}">
                <a16:creationId xmlns:a16="http://schemas.microsoft.com/office/drawing/2014/main" id="{01FF315D-EEB4-45A8-A57C-AD88512A1D44}"/>
              </a:ext>
            </a:extLst>
          </p:cNvPr>
          <p:cNvSpPr txBox="1"/>
          <p:nvPr/>
        </p:nvSpPr>
        <p:spPr>
          <a:xfrm>
            <a:off x="1554480" y="1441966"/>
            <a:ext cx="6814686" cy="369332"/>
          </a:xfrm>
          <a:prstGeom prst="rect">
            <a:avLst/>
          </a:prstGeom>
          <a:noFill/>
        </p:spPr>
        <p:txBody>
          <a:bodyPr wrap="none" rtlCol="0">
            <a:spAutoFit/>
          </a:bodyPr>
          <a:lstStyle/>
          <a:p>
            <a:r>
              <a:rPr lang="fr-FR" dirty="0">
                <a:solidFill>
                  <a:srgbClr val="004575"/>
                </a:solidFill>
              </a:rPr>
              <a:t>Pour rappel, le week-end du </a:t>
            </a:r>
            <a:r>
              <a:rPr lang="fr-FR" dirty="0" err="1">
                <a:solidFill>
                  <a:srgbClr val="004575"/>
                </a:solidFill>
              </a:rPr>
              <a:t>Hi!ckathon</a:t>
            </a:r>
            <a:r>
              <a:rPr lang="fr-FR" dirty="0">
                <a:solidFill>
                  <a:srgbClr val="004575"/>
                </a:solidFill>
              </a:rPr>
              <a:t> aura lieu les </a:t>
            </a:r>
            <a:r>
              <a:rPr lang="fr-FR" b="1" dirty="0">
                <a:solidFill>
                  <a:srgbClr val="004575"/>
                </a:solidFill>
              </a:rPr>
              <a:t>5 et 6 mars</a:t>
            </a:r>
            <a:r>
              <a:rPr lang="fr-FR" dirty="0">
                <a:solidFill>
                  <a:srgbClr val="004575"/>
                </a:solidFill>
              </a:rPr>
              <a:t>.</a:t>
            </a:r>
          </a:p>
        </p:txBody>
      </p:sp>
      <p:pic>
        <p:nvPicPr>
          <p:cNvPr id="4" name="Graphique 3" descr="Commentaire important avec un remplissage uni">
            <a:extLst>
              <a:ext uri="{FF2B5EF4-FFF2-40B4-BE49-F238E27FC236}">
                <a16:creationId xmlns:a16="http://schemas.microsoft.com/office/drawing/2014/main" id="{398674C9-952E-44EE-BF29-BD05F02E80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0080" y="1169432"/>
            <a:ext cx="914400" cy="914400"/>
          </a:xfrm>
          <a:prstGeom prst="rect">
            <a:avLst/>
          </a:prstGeom>
        </p:spPr>
      </p:pic>
      <p:sp>
        <p:nvSpPr>
          <p:cNvPr id="6" name="ZoneTexte 5">
            <a:extLst>
              <a:ext uri="{FF2B5EF4-FFF2-40B4-BE49-F238E27FC236}">
                <a16:creationId xmlns:a16="http://schemas.microsoft.com/office/drawing/2014/main" id="{6B93FBEC-D7A0-47B8-984A-01E96D55451F}"/>
              </a:ext>
            </a:extLst>
          </p:cNvPr>
          <p:cNvSpPr txBox="1"/>
          <p:nvPr/>
        </p:nvSpPr>
        <p:spPr>
          <a:xfrm>
            <a:off x="1554480" y="2148487"/>
            <a:ext cx="4993675" cy="369332"/>
          </a:xfrm>
          <a:prstGeom prst="rect">
            <a:avLst/>
          </a:prstGeom>
          <a:noFill/>
        </p:spPr>
        <p:txBody>
          <a:bodyPr wrap="none" rtlCol="0">
            <a:spAutoFit/>
          </a:bodyPr>
          <a:lstStyle/>
          <a:p>
            <a:r>
              <a:rPr lang="fr-FR" dirty="0">
                <a:solidFill>
                  <a:srgbClr val="004575"/>
                </a:solidFill>
              </a:rPr>
              <a:t>Il s’agit d’un évènement (pour tous le monde) :</a:t>
            </a:r>
          </a:p>
        </p:txBody>
      </p:sp>
      <p:sp>
        <p:nvSpPr>
          <p:cNvPr id="5" name="Ellipse 4">
            <a:extLst>
              <a:ext uri="{FF2B5EF4-FFF2-40B4-BE49-F238E27FC236}">
                <a16:creationId xmlns:a16="http://schemas.microsoft.com/office/drawing/2014/main" id="{E032AA27-5AA6-423F-ADED-6250B6738FD4}"/>
              </a:ext>
            </a:extLst>
          </p:cNvPr>
          <p:cNvSpPr/>
          <p:nvPr/>
        </p:nvSpPr>
        <p:spPr>
          <a:xfrm>
            <a:off x="3147003" y="2818871"/>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1</a:t>
            </a:r>
            <a:endParaRPr lang="fr-FR" sz="1600" b="1" dirty="0">
              <a:solidFill>
                <a:schemeClr val="bg1"/>
              </a:solidFill>
            </a:endParaRPr>
          </a:p>
        </p:txBody>
      </p:sp>
      <p:sp>
        <p:nvSpPr>
          <p:cNvPr id="10" name="ZoneTexte 9">
            <a:extLst>
              <a:ext uri="{FF2B5EF4-FFF2-40B4-BE49-F238E27FC236}">
                <a16:creationId xmlns:a16="http://schemas.microsoft.com/office/drawing/2014/main" id="{1759030A-59FA-4E7F-AF17-5C67D0091EBD}"/>
              </a:ext>
            </a:extLst>
          </p:cNvPr>
          <p:cNvSpPr txBox="1"/>
          <p:nvPr/>
        </p:nvSpPr>
        <p:spPr>
          <a:xfrm>
            <a:off x="3943553" y="2994205"/>
            <a:ext cx="1599540" cy="369332"/>
          </a:xfrm>
          <a:prstGeom prst="rect">
            <a:avLst/>
          </a:prstGeom>
          <a:noFill/>
        </p:spPr>
        <p:txBody>
          <a:bodyPr wrap="none" rtlCol="0">
            <a:spAutoFit/>
          </a:bodyPr>
          <a:lstStyle/>
          <a:p>
            <a:r>
              <a:rPr lang="fr-FR" b="1" dirty="0">
                <a:solidFill>
                  <a:srgbClr val="004575"/>
                </a:solidFill>
              </a:rPr>
              <a:t>EN ANGLAIS</a:t>
            </a:r>
          </a:p>
        </p:txBody>
      </p:sp>
      <p:sp>
        <p:nvSpPr>
          <p:cNvPr id="11" name="Ellipse 10">
            <a:extLst>
              <a:ext uri="{FF2B5EF4-FFF2-40B4-BE49-F238E27FC236}">
                <a16:creationId xmlns:a16="http://schemas.microsoft.com/office/drawing/2014/main" id="{34881AC0-4CBE-4B66-95E0-F899432545D2}"/>
              </a:ext>
            </a:extLst>
          </p:cNvPr>
          <p:cNvSpPr/>
          <p:nvPr/>
        </p:nvSpPr>
        <p:spPr>
          <a:xfrm>
            <a:off x="6945546" y="2818871"/>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2</a:t>
            </a:r>
            <a:endParaRPr lang="fr-FR" sz="1600" b="1" dirty="0">
              <a:solidFill>
                <a:schemeClr val="bg1"/>
              </a:solidFill>
            </a:endParaRPr>
          </a:p>
        </p:txBody>
      </p:sp>
      <p:sp>
        <p:nvSpPr>
          <p:cNvPr id="12" name="ZoneTexte 11">
            <a:extLst>
              <a:ext uri="{FF2B5EF4-FFF2-40B4-BE49-F238E27FC236}">
                <a16:creationId xmlns:a16="http://schemas.microsoft.com/office/drawing/2014/main" id="{8A2E91ED-536D-4710-88E5-4B7D283532EC}"/>
              </a:ext>
            </a:extLst>
          </p:cNvPr>
          <p:cNvSpPr txBox="1"/>
          <p:nvPr/>
        </p:nvSpPr>
        <p:spPr>
          <a:xfrm>
            <a:off x="7742096" y="2994205"/>
            <a:ext cx="1595309" cy="369332"/>
          </a:xfrm>
          <a:prstGeom prst="rect">
            <a:avLst/>
          </a:prstGeom>
          <a:noFill/>
        </p:spPr>
        <p:txBody>
          <a:bodyPr wrap="square" rtlCol="0">
            <a:spAutoFit/>
          </a:bodyPr>
          <a:lstStyle/>
          <a:p>
            <a:r>
              <a:rPr lang="fr-FR" b="1" dirty="0">
                <a:solidFill>
                  <a:srgbClr val="004575"/>
                </a:solidFill>
              </a:rPr>
              <a:t>EN HYBRIDE</a:t>
            </a:r>
          </a:p>
        </p:txBody>
      </p:sp>
      <p:sp>
        <p:nvSpPr>
          <p:cNvPr id="13" name="ZoneTexte 12">
            <a:extLst>
              <a:ext uri="{FF2B5EF4-FFF2-40B4-BE49-F238E27FC236}">
                <a16:creationId xmlns:a16="http://schemas.microsoft.com/office/drawing/2014/main" id="{2A1E8673-FBF4-413C-B69E-956947C8D5FE}"/>
              </a:ext>
            </a:extLst>
          </p:cNvPr>
          <p:cNvSpPr txBox="1"/>
          <p:nvPr/>
        </p:nvSpPr>
        <p:spPr>
          <a:xfrm>
            <a:off x="640080" y="5828288"/>
            <a:ext cx="5219314" cy="461665"/>
          </a:xfrm>
          <a:prstGeom prst="rect">
            <a:avLst/>
          </a:prstGeom>
          <a:noFill/>
        </p:spPr>
        <p:txBody>
          <a:bodyPr wrap="none" rtlCol="0">
            <a:spAutoFit/>
          </a:bodyPr>
          <a:lstStyle/>
          <a:p>
            <a:r>
              <a:rPr lang="fr-FR" sz="1200" b="1" i="1" dirty="0">
                <a:latin typeface="+mj-lt"/>
              </a:rPr>
              <a:t>Adresse de Télécom Paris :</a:t>
            </a:r>
            <a:r>
              <a:rPr lang="fr-FR" sz="1200" i="1" dirty="0">
                <a:latin typeface="+mj-lt"/>
              </a:rPr>
              <a:t> </a:t>
            </a:r>
            <a:r>
              <a:rPr lang="fr-FR" sz="1200" b="0" i="1" dirty="0">
                <a:solidFill>
                  <a:srgbClr val="202124"/>
                </a:solidFill>
                <a:effectLst/>
                <a:latin typeface="+mj-lt"/>
              </a:rPr>
              <a:t>19 place marguerite </a:t>
            </a:r>
            <a:r>
              <a:rPr lang="fr-FR" sz="1200" b="0" i="1" dirty="0" err="1">
                <a:solidFill>
                  <a:srgbClr val="202124"/>
                </a:solidFill>
                <a:effectLst/>
                <a:latin typeface="+mj-lt"/>
              </a:rPr>
              <a:t>perey</a:t>
            </a:r>
            <a:r>
              <a:rPr lang="fr-FR" sz="1200" b="0" i="1" dirty="0">
                <a:solidFill>
                  <a:srgbClr val="202124"/>
                </a:solidFill>
                <a:effectLst/>
                <a:latin typeface="+mj-lt"/>
              </a:rPr>
              <a:t>, 91120 Palaiseau</a:t>
            </a:r>
            <a:br>
              <a:rPr lang="fr-FR" sz="1200" b="0" i="1" dirty="0">
                <a:solidFill>
                  <a:srgbClr val="202124"/>
                </a:solidFill>
                <a:effectLst/>
                <a:latin typeface="+mj-lt"/>
              </a:rPr>
            </a:br>
            <a:r>
              <a:rPr lang="fr-FR" sz="1200" b="1" i="1" dirty="0">
                <a:solidFill>
                  <a:srgbClr val="202124"/>
                </a:solidFill>
                <a:effectLst/>
                <a:latin typeface="+mj-lt"/>
              </a:rPr>
              <a:t>Lien du Doodle :</a:t>
            </a:r>
            <a:r>
              <a:rPr lang="fr-FR" sz="1200" b="0" i="1" dirty="0">
                <a:solidFill>
                  <a:srgbClr val="202124"/>
                </a:solidFill>
                <a:effectLst/>
                <a:latin typeface="+mj-lt"/>
              </a:rPr>
              <a:t> </a:t>
            </a:r>
            <a:r>
              <a:rPr lang="fr-FR" sz="1200" b="0" i="1" dirty="0">
                <a:effectLst/>
                <a:latin typeface="+mj-lt"/>
                <a:hlinkClick r:id="rId5">
                  <a:extLst>
                    <a:ext uri="{A12FA001-AC4F-418D-AE19-62706E023703}">
                      <ahyp:hlinkClr xmlns:ahyp="http://schemas.microsoft.com/office/drawing/2018/hyperlinkcolor" val="tx"/>
                    </a:ext>
                  </a:extLst>
                </a:hlinkClick>
              </a:rPr>
              <a:t>lien</a:t>
            </a:r>
            <a:endParaRPr lang="fr-FR" sz="1200" i="1" dirty="0">
              <a:latin typeface="+mj-lt"/>
            </a:endParaRPr>
          </a:p>
        </p:txBody>
      </p:sp>
      <p:sp>
        <p:nvSpPr>
          <p:cNvPr id="14" name="ZoneTexte 13">
            <a:extLst>
              <a:ext uri="{FF2B5EF4-FFF2-40B4-BE49-F238E27FC236}">
                <a16:creationId xmlns:a16="http://schemas.microsoft.com/office/drawing/2014/main" id="{E962BD77-5751-4BFB-8547-C6CC3795E4B8}"/>
              </a:ext>
            </a:extLst>
          </p:cNvPr>
          <p:cNvSpPr txBox="1"/>
          <p:nvPr/>
        </p:nvSpPr>
        <p:spPr>
          <a:xfrm>
            <a:off x="1478775" y="3970850"/>
            <a:ext cx="4916731" cy="369332"/>
          </a:xfrm>
          <a:prstGeom prst="rect">
            <a:avLst/>
          </a:prstGeom>
          <a:noFill/>
        </p:spPr>
        <p:txBody>
          <a:bodyPr wrap="none" rtlCol="0">
            <a:spAutoFit/>
          </a:bodyPr>
          <a:lstStyle/>
          <a:p>
            <a:r>
              <a:rPr lang="fr-FR" dirty="0">
                <a:solidFill>
                  <a:srgbClr val="004575"/>
                </a:solidFill>
              </a:rPr>
              <a:t>En ce qui concerne les sessions de coaching :</a:t>
            </a:r>
          </a:p>
        </p:txBody>
      </p:sp>
      <p:sp>
        <p:nvSpPr>
          <p:cNvPr id="17" name="Ellipse 16">
            <a:extLst>
              <a:ext uri="{FF2B5EF4-FFF2-40B4-BE49-F238E27FC236}">
                <a16:creationId xmlns:a16="http://schemas.microsoft.com/office/drawing/2014/main" id="{5661AACF-CACF-43A3-9F11-B71AB4D13AFF}"/>
              </a:ext>
            </a:extLst>
          </p:cNvPr>
          <p:cNvSpPr/>
          <p:nvPr/>
        </p:nvSpPr>
        <p:spPr>
          <a:xfrm>
            <a:off x="4582103" y="4631902"/>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2</a:t>
            </a:r>
            <a:endParaRPr lang="fr-FR" sz="1600" b="1" dirty="0">
              <a:solidFill>
                <a:schemeClr val="bg1"/>
              </a:solidFill>
            </a:endParaRPr>
          </a:p>
        </p:txBody>
      </p:sp>
      <p:sp>
        <p:nvSpPr>
          <p:cNvPr id="18" name="ZoneTexte 17">
            <a:extLst>
              <a:ext uri="{FF2B5EF4-FFF2-40B4-BE49-F238E27FC236}">
                <a16:creationId xmlns:a16="http://schemas.microsoft.com/office/drawing/2014/main" id="{47AE4B9A-6AA3-407D-994B-4CA5106A1F0A}"/>
              </a:ext>
            </a:extLst>
          </p:cNvPr>
          <p:cNvSpPr txBox="1"/>
          <p:nvPr/>
        </p:nvSpPr>
        <p:spPr>
          <a:xfrm>
            <a:off x="5378653" y="4807236"/>
            <a:ext cx="2775119" cy="646331"/>
          </a:xfrm>
          <a:prstGeom prst="rect">
            <a:avLst/>
          </a:prstGeom>
          <a:noFill/>
        </p:spPr>
        <p:txBody>
          <a:bodyPr wrap="none" rtlCol="0">
            <a:spAutoFit/>
          </a:bodyPr>
          <a:lstStyle/>
          <a:p>
            <a:r>
              <a:rPr lang="fr-FR" b="1" dirty="0">
                <a:solidFill>
                  <a:srgbClr val="004575"/>
                </a:solidFill>
              </a:rPr>
              <a:t>Système de réservation</a:t>
            </a:r>
            <a:br>
              <a:rPr lang="fr-FR" b="1" dirty="0">
                <a:solidFill>
                  <a:srgbClr val="004575"/>
                </a:solidFill>
              </a:rPr>
            </a:br>
            <a:r>
              <a:rPr lang="fr-FR" b="1" dirty="0">
                <a:solidFill>
                  <a:srgbClr val="004575"/>
                </a:solidFill>
              </a:rPr>
              <a:t>de créneau</a:t>
            </a:r>
          </a:p>
        </p:txBody>
      </p:sp>
      <p:sp>
        <p:nvSpPr>
          <p:cNvPr id="19" name="Ellipse 18">
            <a:extLst>
              <a:ext uri="{FF2B5EF4-FFF2-40B4-BE49-F238E27FC236}">
                <a16:creationId xmlns:a16="http://schemas.microsoft.com/office/drawing/2014/main" id="{A590A932-B242-4265-9ECA-499FD8182879}"/>
              </a:ext>
            </a:extLst>
          </p:cNvPr>
          <p:cNvSpPr/>
          <p:nvPr/>
        </p:nvSpPr>
        <p:spPr>
          <a:xfrm>
            <a:off x="8380646" y="4631902"/>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3</a:t>
            </a:r>
            <a:endParaRPr lang="fr-FR" sz="1600" b="1" dirty="0">
              <a:solidFill>
                <a:schemeClr val="bg1"/>
              </a:solidFill>
            </a:endParaRPr>
          </a:p>
        </p:txBody>
      </p:sp>
      <p:sp>
        <p:nvSpPr>
          <p:cNvPr id="20" name="ZoneTexte 19">
            <a:extLst>
              <a:ext uri="{FF2B5EF4-FFF2-40B4-BE49-F238E27FC236}">
                <a16:creationId xmlns:a16="http://schemas.microsoft.com/office/drawing/2014/main" id="{2E988E95-C787-4943-BD07-2DDCA03A2569}"/>
              </a:ext>
            </a:extLst>
          </p:cNvPr>
          <p:cNvSpPr txBox="1"/>
          <p:nvPr/>
        </p:nvSpPr>
        <p:spPr>
          <a:xfrm>
            <a:off x="9177196" y="4807236"/>
            <a:ext cx="2303604" cy="369332"/>
          </a:xfrm>
          <a:prstGeom prst="rect">
            <a:avLst/>
          </a:prstGeom>
          <a:noFill/>
        </p:spPr>
        <p:txBody>
          <a:bodyPr wrap="square" rtlCol="0">
            <a:spAutoFit/>
          </a:bodyPr>
          <a:lstStyle/>
          <a:p>
            <a:r>
              <a:rPr lang="fr-FR" b="1" dirty="0">
                <a:solidFill>
                  <a:srgbClr val="004575"/>
                </a:solidFill>
              </a:rPr>
              <a:t>Durée : 15 à 20 min</a:t>
            </a:r>
          </a:p>
        </p:txBody>
      </p:sp>
      <p:sp>
        <p:nvSpPr>
          <p:cNvPr id="21" name="Ellipse 20">
            <a:extLst>
              <a:ext uri="{FF2B5EF4-FFF2-40B4-BE49-F238E27FC236}">
                <a16:creationId xmlns:a16="http://schemas.microsoft.com/office/drawing/2014/main" id="{D4ADB3C7-A798-4467-B4D9-4FDF9269821D}"/>
              </a:ext>
            </a:extLst>
          </p:cNvPr>
          <p:cNvSpPr/>
          <p:nvPr/>
        </p:nvSpPr>
        <p:spPr>
          <a:xfrm>
            <a:off x="937513" y="4631902"/>
            <a:ext cx="720000" cy="720000"/>
          </a:xfrm>
          <a:prstGeom prst="ellipse">
            <a:avLst/>
          </a:prstGeom>
          <a:solidFill>
            <a:srgbClr val="E618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fr-FR" sz="4000" b="1" dirty="0">
                <a:solidFill>
                  <a:schemeClr val="bg1"/>
                </a:solidFill>
              </a:rPr>
              <a:t>1</a:t>
            </a:r>
            <a:endParaRPr lang="fr-FR" sz="1600" b="1" dirty="0">
              <a:solidFill>
                <a:schemeClr val="bg1"/>
              </a:solidFill>
            </a:endParaRPr>
          </a:p>
        </p:txBody>
      </p:sp>
      <p:sp>
        <p:nvSpPr>
          <p:cNvPr id="22" name="ZoneTexte 21">
            <a:extLst>
              <a:ext uri="{FF2B5EF4-FFF2-40B4-BE49-F238E27FC236}">
                <a16:creationId xmlns:a16="http://schemas.microsoft.com/office/drawing/2014/main" id="{643A02F1-D631-4502-9507-9890E42A5C01}"/>
              </a:ext>
            </a:extLst>
          </p:cNvPr>
          <p:cNvSpPr txBox="1"/>
          <p:nvPr/>
        </p:nvSpPr>
        <p:spPr>
          <a:xfrm>
            <a:off x="1734063" y="4807236"/>
            <a:ext cx="2646878" cy="646331"/>
          </a:xfrm>
          <a:prstGeom prst="rect">
            <a:avLst/>
          </a:prstGeom>
          <a:noFill/>
        </p:spPr>
        <p:txBody>
          <a:bodyPr wrap="none" rtlCol="0">
            <a:spAutoFit/>
          </a:bodyPr>
          <a:lstStyle/>
          <a:p>
            <a:r>
              <a:rPr lang="fr-FR" b="1" dirty="0">
                <a:solidFill>
                  <a:srgbClr val="004575"/>
                </a:solidFill>
              </a:rPr>
              <a:t>Renseigner vos dispo.</a:t>
            </a:r>
            <a:br>
              <a:rPr lang="fr-FR" b="1" dirty="0">
                <a:solidFill>
                  <a:srgbClr val="004575"/>
                </a:solidFill>
              </a:rPr>
            </a:br>
            <a:r>
              <a:rPr lang="fr-FR" b="1" dirty="0">
                <a:solidFill>
                  <a:srgbClr val="004575"/>
                </a:solidFill>
              </a:rPr>
              <a:t>via le Doodle</a:t>
            </a:r>
          </a:p>
        </p:txBody>
      </p:sp>
    </p:spTree>
    <p:extLst>
      <p:ext uri="{BB962C8B-B14F-4D97-AF65-F5344CB8AC3E}">
        <p14:creationId xmlns:p14="http://schemas.microsoft.com/office/powerpoint/2010/main" val="3164071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695773" y="4988164"/>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18129377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descr="Zoom Logo Filled Graphic - Logos | Free Graphics &amp; Vectors - PicMonkey">
            <a:extLst>
              <a:ext uri="{FF2B5EF4-FFF2-40B4-BE49-F238E27FC236}">
                <a16:creationId xmlns:a16="http://schemas.microsoft.com/office/drawing/2014/main" id="{D945C06E-1C9B-4B50-9E79-747A508F09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2947" y="1010563"/>
            <a:ext cx="720521" cy="72052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5">
            <a:extLst>
              <a:ext uri="{FF2B5EF4-FFF2-40B4-BE49-F238E27FC236}">
                <a16:creationId xmlns:a16="http://schemas.microsoft.com/office/drawing/2014/main" id="{02503572-C23C-4081-9A91-90D5E06E7440}"/>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166" b="29451" l="105" r="40881">
                        <a14:foregroundMark x1="14570" y1="14809" x2="14570" y2="14809"/>
                        <a14:foregroundMark x1="13627" y1="14143" x2="13627" y2="14143"/>
                        <a14:foregroundMark x1="16457" y1="15973" x2="16457" y2="15973"/>
                        <a14:foregroundMark x1="17715" y1="15474" x2="17715" y2="15474"/>
                        <a14:foregroundMark x1="16876" y1="13810" x2="16876" y2="13810"/>
                        <a14:foregroundMark x1="19497" y1="16306" x2="19497" y2="16306"/>
                        <a14:foregroundMark x1="22851" y1="14975" x2="22851" y2="14975"/>
                        <a14:foregroundMark x1="25157" y1="15641" x2="25157" y2="15641"/>
                        <a14:foregroundMark x1="28826" y1="15807" x2="28826" y2="15807"/>
                        <a14:foregroundMark x1="32285" y1="16972" x2="32285" y2="16972"/>
                        <a14:foregroundMark x1="8386" y1="11814" x2="8386" y2="11814"/>
                        <a14:foregroundMark x1="6289" y1="13145" x2="6289" y2="13145"/>
                        <a14:foregroundMark x1="9329" y1="14809" x2="9329" y2="14809"/>
                        <a14:foregroundMark x1="16038" y1="24459" x2="16038" y2="24459"/>
                        <a14:foregroundMark x1="18553" y1="20965" x2="18553" y2="20965"/>
                        <a14:foregroundMark x1="18553" y1="20965" x2="18553" y2="20965"/>
                        <a14:foregroundMark x1="18553" y1="20965" x2="18553" y2="20965"/>
                        <a14:foregroundMark x1="18553" y1="20965" x2="18553" y2="20965"/>
                        <a14:foregroundMark x1="18553" y1="20965" x2="7966" y2="21131"/>
                        <a14:foregroundMark x1="7966" y1="21131" x2="25891" y2="26456"/>
                        <a14:foregroundMark x1="25891" y1="26456" x2="39832" y2="19468"/>
                        <a14:foregroundMark x1="39832" y1="19468" x2="13836" y2="20300"/>
                        <a14:foregroundMark x1="13836" y1="20300" x2="38470" y2="15141"/>
                        <a14:foregroundMark x1="29036" y1="15807" x2="12683" y2="22463"/>
                        <a14:foregroundMark x1="12683" y1="22463" x2="31027" y2="5990"/>
                        <a14:foregroundMark x1="31027" y1="5990" x2="18973" y2="5657"/>
                        <a14:foregroundMark x1="18973" y1="5657" x2="32180" y2="10150"/>
                        <a14:foregroundMark x1="32180" y1="10150" x2="8281" y2="8486"/>
                        <a14:foregroundMark x1="8281" y1="8486" x2="32495" y2="10316"/>
                        <a14:foregroundMark x1="32495" y1="10316" x2="3145" y2="6156"/>
                        <a14:foregroundMark x1="3145" y1="6156" x2="25891" y2="3161"/>
                        <a14:foregroundMark x1="25891" y1="3161" x2="12264" y2="11980"/>
                        <a14:foregroundMark x1="12264" y1="11980" x2="33753" y2="18136"/>
                        <a14:foregroundMark x1="33753" y1="18136" x2="3564" y2="20632"/>
                        <a14:foregroundMark x1="3564" y1="20632" x2="37736" y2="23295"/>
                        <a14:foregroundMark x1="37736" y1="23295" x2="12369" y2="23794"/>
                        <a14:foregroundMark x1="12369" y1="23794" x2="23795" y2="17304"/>
                        <a14:foregroundMark x1="23795" y1="17304" x2="13417" y2="16639"/>
                        <a14:foregroundMark x1="13417" y1="16639" x2="33753" y2="14143"/>
                        <a14:foregroundMark x1="33753" y1="14143" x2="12683" y2="6323"/>
                        <a14:foregroundMark x1="12683" y1="6323" x2="30608" y2="10150"/>
                        <a14:foregroundMark x1="30608" y1="10150" x2="12159" y2="12646"/>
                        <a14:foregroundMark x1="12159" y1="12646" x2="26730" y2="11980"/>
                        <a14:foregroundMark x1="26730" y1="11980" x2="1992" y2="13311"/>
                        <a14:foregroundMark x1="1992" y1="13311" x2="1468" y2="25957"/>
                        <a14:foregroundMark x1="9958" y1="25125" x2="20126" y2="24792"/>
                        <a14:foregroundMark x1="20126" y1="24792" x2="3459" y2="23128"/>
                        <a14:foregroundMark x1="3459" y1="23128" x2="11321" y2="28619"/>
                        <a14:foregroundMark x1="11321" y1="28619" x2="37631" y2="24126"/>
                        <a14:foregroundMark x1="37631" y1="24126" x2="8386" y2="27787"/>
                        <a14:foregroundMark x1="8386" y1="27787" x2="40985" y2="29617"/>
                        <a14:foregroundMark x1="40985" y1="29617" x2="30608" y2="7321"/>
                        <a14:foregroundMark x1="30608" y1="7321" x2="36268" y2="7321"/>
                        <a14:foregroundMark x1="37002" y1="12812" x2="27673" y2="5657"/>
                        <a14:foregroundMark x1="27673" y1="5657" x2="36897" y2="5824"/>
                        <a14:foregroundMark x1="36897" y1="5824" x2="26415" y2="5158"/>
                        <a14:foregroundMark x1="26415" y1="5158" x2="35325" y2="6656"/>
                        <a14:foregroundMark x1="35325" y1="6656" x2="26625" y2="4160"/>
                        <a14:foregroundMark x1="26625" y1="4160" x2="35535" y2="4992"/>
                        <a14:foregroundMark x1="35535" y1="4992" x2="15618" y2="1165"/>
                        <a14:foregroundMark x1="15618" y1="1165" x2="1258" y2="12146"/>
                        <a14:foregroundMark x1="1258" y1="12146" x2="3983" y2="27121"/>
                        <a14:foregroundMark x1="3983" y1="27121" x2="4193" y2="1830"/>
                        <a14:foregroundMark x1="4193" y1="1830" x2="17820" y2="166"/>
                        <a14:foregroundMark x1="17820" y1="166" x2="26939" y2="1331"/>
                        <a14:foregroundMark x1="26939" y1="1331" x2="8595" y2="8486"/>
                        <a14:foregroundMark x1="8595" y1="8486" x2="18239" y2="4659"/>
                        <a14:foregroundMark x1="18239" y1="4659" x2="8595" y2="2995"/>
                        <a14:foregroundMark x1="8595" y1="2995" x2="19078" y2="333"/>
                        <a14:foregroundMark x1="19078" y1="333" x2="6499" y2="7321"/>
                        <a14:foregroundMark x1="6499" y1="7321" x2="23061" y2="832"/>
                        <a14:foregroundMark x1="23061" y1="832" x2="35115" y2="1997"/>
                        <a14:foregroundMark x1="35115" y1="1997" x2="36478" y2="17637"/>
                        <a14:foregroundMark x1="36478" y1="17637" x2="37526" y2="2163"/>
                        <a14:foregroundMark x1="37526" y1="2163" x2="37526" y2="2163"/>
                        <a14:foregroundMark x1="1992" y1="9817" x2="210" y2="29451"/>
                        <a14:foregroundMark x1="210" y1="29451" x2="3040" y2="166"/>
                        <a14:foregroundMark x1="3040" y1="166" x2="105" y2="4326"/>
                      </a14:backgroundRemoval>
                    </a14:imgEffect>
                  </a14:imgLayer>
                </a14:imgProps>
              </a:ext>
            </a:extLst>
          </a:blip>
          <a:srcRect t="1724" r="62292" b="74585"/>
          <a:stretch/>
        </p:blipFill>
        <p:spPr>
          <a:xfrm>
            <a:off x="1570657" y="950759"/>
            <a:ext cx="1820325" cy="720521"/>
          </a:xfrm>
          <a:prstGeom prst="roundRect">
            <a:avLst/>
          </a:prstGeom>
        </p:spPr>
      </p:pic>
      <p:grpSp>
        <p:nvGrpSpPr>
          <p:cNvPr id="7" name="Group 3">
            <a:extLst>
              <a:ext uri="{FF2B5EF4-FFF2-40B4-BE49-F238E27FC236}">
                <a16:creationId xmlns:a16="http://schemas.microsoft.com/office/drawing/2014/main" id="{4F0CB7D3-720B-41FF-9CE9-FD40F8CA6921}"/>
              </a:ext>
            </a:extLst>
          </p:cNvPr>
          <p:cNvGrpSpPr/>
          <p:nvPr/>
        </p:nvGrpSpPr>
        <p:grpSpPr>
          <a:xfrm>
            <a:off x="9169677" y="884659"/>
            <a:ext cx="1191839" cy="827906"/>
            <a:chOff x="8659620" y="2868594"/>
            <a:chExt cx="1596763" cy="1068552"/>
          </a:xfrm>
        </p:grpSpPr>
        <p:pic>
          <p:nvPicPr>
            <p:cNvPr id="8" name="Picture 71" descr="Icon&#10;&#10;Description automatically generated">
              <a:extLst>
                <a:ext uri="{FF2B5EF4-FFF2-40B4-BE49-F238E27FC236}">
                  <a16:creationId xmlns:a16="http://schemas.microsoft.com/office/drawing/2014/main" id="{3E0A42D7-A534-4327-919D-B3094BDFADF3}"/>
                </a:ext>
              </a:extLst>
            </p:cNvPr>
            <p:cNvPicPr>
              <a:picLocks noChangeAspect="1"/>
            </p:cNvPicPr>
            <p:nvPr/>
          </p:nvPicPr>
          <p:blipFill>
            <a:blip r:embed="rId6"/>
            <a:stretch>
              <a:fillRect/>
            </a:stretch>
          </p:blipFill>
          <p:spPr>
            <a:xfrm>
              <a:off x="9079992" y="2868594"/>
              <a:ext cx="756021" cy="756021"/>
            </a:xfrm>
            <a:prstGeom prst="rect">
              <a:avLst/>
            </a:prstGeom>
          </p:spPr>
        </p:pic>
        <p:sp>
          <p:nvSpPr>
            <p:cNvPr id="9" name="Title 4">
              <a:extLst>
                <a:ext uri="{FF2B5EF4-FFF2-40B4-BE49-F238E27FC236}">
                  <a16:creationId xmlns:a16="http://schemas.microsoft.com/office/drawing/2014/main" id="{30C3CEA4-081B-4FDD-8231-9E520EDC2869}"/>
                </a:ext>
              </a:extLst>
            </p:cNvPr>
            <p:cNvSpPr txBox="1">
              <a:spLocks/>
            </p:cNvSpPr>
            <p:nvPr/>
          </p:nvSpPr>
          <p:spPr>
            <a:xfrm>
              <a:off x="8659620" y="3431493"/>
              <a:ext cx="1596763" cy="505653"/>
            </a:xfrm>
            <a:prstGeom prst="rect">
              <a:avLst/>
            </a:prstGeom>
            <a:noFill/>
            <a:ln>
              <a:noFill/>
            </a:ln>
          </p:spPr>
          <p:txBody>
            <a:bodyPr spcFirstLastPara="1" vert="horz" wrap="square" lIns="0" tIns="18000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kern="0" dirty="0">
                  <a:solidFill>
                    <a:schemeClr val="tx1"/>
                  </a:solidFill>
                </a:rPr>
                <a:t>Discord</a:t>
              </a:r>
              <a:endParaRPr lang="en-US" sz="1400" kern="0" dirty="0">
                <a:solidFill>
                  <a:schemeClr val="tx1"/>
                </a:solidFill>
              </a:endParaRPr>
            </a:p>
          </p:txBody>
        </p:sp>
      </p:grpSp>
      <p:sp>
        <p:nvSpPr>
          <p:cNvPr id="10" name="Rectangle : coins arrondis 25">
            <a:extLst>
              <a:ext uri="{FF2B5EF4-FFF2-40B4-BE49-F238E27FC236}">
                <a16:creationId xmlns:a16="http://schemas.microsoft.com/office/drawing/2014/main" id="{F6E8E729-7F15-4727-8E85-10D3701B99C8}"/>
              </a:ext>
            </a:extLst>
          </p:cNvPr>
          <p:cNvSpPr/>
          <p:nvPr/>
        </p:nvSpPr>
        <p:spPr>
          <a:xfrm>
            <a:off x="1127769" y="1890012"/>
            <a:ext cx="2706101" cy="4205069"/>
          </a:xfrm>
          <a:prstGeom prst="roundRect">
            <a:avLst>
              <a:gd name="adj" fmla="val 260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solidFill>
              <a:srgbClr val="FF034D"/>
            </a:solidFill>
            <a:prstDash val="soli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rPr>
              <a:t>Le sujet du challenge et les </a:t>
            </a:r>
            <a:r>
              <a:rPr lang="fr-FR" sz="1200" kern="0" dirty="0" err="1">
                <a:solidFill>
                  <a:srgbClr val="FFFFFF"/>
                </a:solidFill>
                <a:latin typeface="Verdana" panose="020B0604030504040204" pitchFamily="34" charset="0"/>
                <a:ea typeface="Verdana" panose="020B0604030504040204" pitchFamily="34" charset="0"/>
              </a:rPr>
              <a:t>datasets</a:t>
            </a:r>
            <a:r>
              <a:rPr lang="fr-FR" sz="1200" kern="0" dirty="0">
                <a:solidFill>
                  <a:srgbClr val="FFFFFF"/>
                </a:solidFill>
                <a:latin typeface="Verdana" panose="020B0604030504040204" pitchFamily="34" charset="0"/>
                <a:ea typeface="Verdana" panose="020B0604030504040204" pitchFamily="34" charset="0"/>
              </a:rPr>
              <a:t> sont accessibles via la plateforme de données </a:t>
            </a:r>
            <a:r>
              <a:rPr lang="fr-FR" sz="1200" kern="0" dirty="0" err="1">
                <a:solidFill>
                  <a:srgbClr val="FFFFFF"/>
                </a:solidFill>
                <a:latin typeface="Verdana" panose="020B0604030504040204" pitchFamily="34" charset="0"/>
                <a:ea typeface="Verdana" panose="020B0604030504040204" pitchFamily="34" charset="0"/>
              </a:rPr>
              <a:t>Hfactory</a:t>
            </a:r>
            <a:r>
              <a:rPr kumimoji="0" lang="en-US" sz="120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rPr>
              <a:t>.</a:t>
            </a: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GitLab</a:t>
            </a: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endParaRP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Environnements</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de </a:t>
            </a: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développement</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a:t>
            </a: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JupyterLabs</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a:t>
            </a:r>
            <a:r>
              <a:rPr lang="en-US"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Jupyter</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 notebook classic, Theia)</a:t>
            </a:r>
          </a:p>
        </p:txBody>
      </p:sp>
      <p:sp>
        <p:nvSpPr>
          <p:cNvPr id="11" name="Rectangle : coins arrondis 25">
            <a:extLst>
              <a:ext uri="{FF2B5EF4-FFF2-40B4-BE49-F238E27FC236}">
                <a16:creationId xmlns:a16="http://schemas.microsoft.com/office/drawing/2014/main" id="{2F7ED1C1-A3F9-44C5-B1D5-9D030D9E8C1F}"/>
              </a:ext>
            </a:extLst>
          </p:cNvPr>
          <p:cNvSpPr/>
          <p:nvPr/>
        </p:nvSpPr>
        <p:spPr>
          <a:xfrm>
            <a:off x="4770158" y="1890012"/>
            <a:ext cx="2706101" cy="4205069"/>
          </a:xfrm>
          <a:prstGeom prst="roundRect">
            <a:avLst>
              <a:gd name="adj" fmla="val 260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solidFill>
              <a:srgbClr val="FF034D"/>
            </a:solidFill>
            <a:prstDash val="soli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Permet à toutes les sessions d’être accessibles à distance pendant la cérémonie d’ouverture, le week-end du hackathon et la cérémonie de clôture.</a:t>
            </a:r>
          </a:p>
        </p:txBody>
      </p:sp>
      <p:sp>
        <p:nvSpPr>
          <p:cNvPr id="12" name="Rectangle : coins arrondis 25">
            <a:extLst>
              <a:ext uri="{FF2B5EF4-FFF2-40B4-BE49-F238E27FC236}">
                <a16:creationId xmlns:a16="http://schemas.microsoft.com/office/drawing/2014/main" id="{63780787-8DD6-4FA1-8111-B0A28576D709}"/>
              </a:ext>
            </a:extLst>
          </p:cNvPr>
          <p:cNvSpPr/>
          <p:nvPr/>
        </p:nvSpPr>
        <p:spPr>
          <a:xfrm>
            <a:off x="8412546" y="1890012"/>
            <a:ext cx="2706101" cy="4205069"/>
          </a:xfrm>
          <a:prstGeom prst="roundRect">
            <a:avLst>
              <a:gd name="adj" fmla="val 2608"/>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5400" cap="flat" cmpd="sng" algn="ctr">
            <a:solidFill>
              <a:srgbClr val="FF034D"/>
            </a:solidFill>
            <a:prstDash val="solid"/>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Utilisé pour bénéficier de salles de coaching</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a:t>
            </a: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endParaRPr>
          </a:p>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Permet aux membres d’une équipe de communiquer entre eux via des salles dédiées</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a:t>
            </a:r>
            <a:endParaRPr kumimoji="0" lang="en-US" sz="120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Wingdings" panose="05000000000000000000" pitchFamily="2" charset="2"/>
            </a:endParaRPr>
          </a:p>
          <a:p>
            <a:pPr marR="0" lvl="0" defTabSz="914400" eaLnBrk="1" fontAlgn="auto" latinLnBrk="0" hangingPunct="1">
              <a:lnSpc>
                <a:spcPct val="100000"/>
              </a:lnSpc>
              <a:spcBef>
                <a:spcPts val="0"/>
              </a:spcBef>
              <a:spcAft>
                <a:spcPts val="0"/>
              </a:spcAft>
              <a:buClrTx/>
              <a:buSzTx/>
              <a:tabLst/>
              <a:defRPr/>
            </a:pPr>
            <a:endPar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endParaRPr>
          </a:p>
          <a:p>
            <a:pPr marL="171450" lvl="0" indent="-171450">
              <a:buFont typeface="Wingdings" panose="05000000000000000000" pitchFamily="2" charset="2"/>
              <a:buChar char="à"/>
              <a:defRPr/>
            </a:pPr>
            <a:r>
              <a:rPr lang="fr-FR"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Partager les dernières nouvelles et annonces sur le </a:t>
            </a:r>
            <a:r>
              <a:rPr lang="fr-FR" sz="1200" kern="0" dirty="0" err="1">
                <a:solidFill>
                  <a:srgbClr val="FFFFFF"/>
                </a:solidFill>
                <a:latin typeface="Verdana" panose="020B0604030504040204" pitchFamily="34" charset="0"/>
                <a:ea typeface="Verdana" panose="020B0604030504040204" pitchFamily="34" charset="0"/>
                <a:sym typeface="Wingdings" panose="05000000000000000000" pitchFamily="2" charset="2"/>
              </a:rPr>
              <a:t>Hi!ckathon</a:t>
            </a:r>
            <a:r>
              <a:rPr lang="en-US" sz="1200" kern="0" dirty="0">
                <a:solidFill>
                  <a:srgbClr val="FFFFFF"/>
                </a:solidFill>
                <a:latin typeface="Verdana" panose="020B0604030504040204" pitchFamily="34" charset="0"/>
                <a:ea typeface="Verdana" panose="020B0604030504040204" pitchFamily="34" charset="0"/>
                <a:sym typeface="Wingdings" panose="05000000000000000000" pitchFamily="2" charset="2"/>
              </a:rPr>
              <a:t>.</a:t>
            </a:r>
          </a:p>
        </p:txBody>
      </p:sp>
      <p:sp>
        <p:nvSpPr>
          <p:cNvPr id="16" name="Titre 1">
            <a:extLst>
              <a:ext uri="{FF2B5EF4-FFF2-40B4-BE49-F238E27FC236}">
                <a16:creationId xmlns:a16="http://schemas.microsoft.com/office/drawing/2014/main" id="{2410059B-9EF1-4B00-9973-E003869C99C2}"/>
              </a:ext>
            </a:extLst>
          </p:cNvPr>
          <p:cNvSpPr txBox="1">
            <a:spLocks noGrp="1"/>
          </p:cNvSpPr>
          <p:nvPr>
            <p:ph type="title"/>
          </p:nvPr>
        </p:nvSpPr>
        <p:spPr>
          <a:xfrm>
            <a:off x="640080" y="91440"/>
            <a:ext cx="10343951" cy="865739"/>
          </a:xfrm>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Outils</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0189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2" name="Rectangle: Rounded Corners 10">
            <a:extLst>
              <a:ext uri="{FF2B5EF4-FFF2-40B4-BE49-F238E27FC236}">
                <a16:creationId xmlns:a16="http://schemas.microsoft.com/office/drawing/2014/main" id="{EB80AD7D-A1F7-4E86-986D-D1AD80933E73}"/>
              </a:ext>
            </a:extLst>
          </p:cNvPr>
          <p:cNvSpPr/>
          <p:nvPr/>
        </p:nvSpPr>
        <p:spPr>
          <a:xfrm>
            <a:off x="1103970" y="5443180"/>
            <a:ext cx="5452947" cy="451104"/>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39965958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Arial" panose="020B0604020202020204" pitchFamily="34" charset="0"/>
                <a:cs typeface="Arial" panose="020B0604020202020204" pitchFamily="34" charset="0"/>
              </a:rPr>
              <a:t>Votr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rôl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en</a:t>
            </a:r>
            <a:r>
              <a:rPr lang="en-US" sz="2400" dirty="0">
                <a:latin typeface="Arial" panose="020B0604020202020204" pitchFamily="34" charset="0"/>
                <a:cs typeface="Arial" panose="020B0604020202020204" pitchFamily="34" charset="0"/>
              </a:rPr>
              <a:t> tant que coach DS</a:t>
            </a:r>
          </a:p>
        </p:txBody>
      </p:sp>
      <p:sp>
        <p:nvSpPr>
          <p:cNvPr id="4" name="Freeform: Shape 45">
            <a:extLst>
              <a:ext uri="{FF2B5EF4-FFF2-40B4-BE49-F238E27FC236}">
                <a16:creationId xmlns:a16="http://schemas.microsoft.com/office/drawing/2014/main" id="{70A47EF6-6D02-4F76-93B5-0D8B84CF64E6}"/>
              </a:ext>
            </a:extLst>
          </p:cNvPr>
          <p:cNvSpPr/>
          <p:nvPr/>
        </p:nvSpPr>
        <p:spPr>
          <a:xfrm flipH="1">
            <a:off x="2554646" y="2104964"/>
            <a:ext cx="2986151" cy="3050836"/>
          </a:xfrm>
          <a:custGeom>
            <a:avLst/>
            <a:gdLst>
              <a:gd name="connsiteX0" fmla="*/ 655682 w 3981574"/>
              <a:gd name="connsiteY0" fmla="*/ 0 h 4067783"/>
              <a:gd name="connsiteX1" fmla="*/ 3852261 w 3981574"/>
              <a:gd name="connsiteY1" fmla="*/ 0 h 4067783"/>
              <a:gd name="connsiteX2" fmla="*/ 3981574 w 3981574"/>
              <a:gd name="connsiteY2" fmla="*/ 129403 h 4067783"/>
              <a:gd name="connsiteX3" fmla="*/ 3981574 w 3981574"/>
              <a:gd name="connsiteY3" fmla="*/ 3938380 h 4067783"/>
              <a:gd name="connsiteX4" fmla="*/ 3852261 w 3981574"/>
              <a:gd name="connsiteY4" fmla="*/ 4067783 h 4067783"/>
              <a:gd name="connsiteX5" fmla="*/ 129525 w 3981574"/>
              <a:gd name="connsiteY5" fmla="*/ 4067783 h 4067783"/>
              <a:gd name="connsiteX6" fmla="*/ 0 w 3981574"/>
              <a:gd name="connsiteY6" fmla="*/ 3938380 h 4067783"/>
              <a:gd name="connsiteX7" fmla="*/ 0 w 3981574"/>
              <a:gd name="connsiteY7" fmla="*/ 3889983 h 4067783"/>
              <a:gd name="connsiteX8" fmla="*/ 0 w 3981574"/>
              <a:gd name="connsiteY8" fmla="*/ 3845533 h 4067783"/>
              <a:gd name="connsiteX9" fmla="*/ 0 w 3981574"/>
              <a:gd name="connsiteY9" fmla="*/ 3757679 h 4067783"/>
              <a:gd name="connsiteX10" fmla="*/ 99569 w 3981574"/>
              <a:gd name="connsiteY10" fmla="*/ 3757679 h 4067783"/>
              <a:gd name="connsiteX11" fmla="*/ 229754 w 3981574"/>
              <a:gd name="connsiteY11" fmla="*/ 3682327 h 4067783"/>
              <a:gd name="connsiteX12" fmla="*/ 333478 w 3981574"/>
              <a:gd name="connsiteY12" fmla="*/ 3503203 h 4067783"/>
              <a:gd name="connsiteX13" fmla="*/ 333478 w 3981574"/>
              <a:gd name="connsiteY13" fmla="*/ 3353475 h 4067783"/>
              <a:gd name="connsiteX14" fmla="*/ 229754 w 3981574"/>
              <a:gd name="connsiteY14" fmla="*/ 3174351 h 4067783"/>
              <a:gd name="connsiteX15" fmla="*/ 99569 w 3981574"/>
              <a:gd name="connsiteY15" fmla="*/ 3098999 h 4067783"/>
              <a:gd name="connsiteX16" fmla="*/ 0 w 3981574"/>
              <a:gd name="connsiteY16" fmla="*/ 3098999 h 4067783"/>
              <a:gd name="connsiteX17" fmla="*/ 0 w 3981574"/>
              <a:gd name="connsiteY17" fmla="*/ 2976464 h 4067783"/>
              <a:gd name="connsiteX18" fmla="*/ 99569 w 3981574"/>
              <a:gd name="connsiteY18" fmla="*/ 2976464 h 4067783"/>
              <a:gd name="connsiteX19" fmla="*/ 229754 w 3981574"/>
              <a:gd name="connsiteY19" fmla="*/ 2901112 h 4067783"/>
              <a:gd name="connsiteX20" fmla="*/ 333478 w 3981574"/>
              <a:gd name="connsiteY20" fmla="*/ 2721988 h 4067783"/>
              <a:gd name="connsiteX21" fmla="*/ 333478 w 3981574"/>
              <a:gd name="connsiteY21" fmla="*/ 2572260 h 4067783"/>
              <a:gd name="connsiteX22" fmla="*/ 229754 w 3981574"/>
              <a:gd name="connsiteY22" fmla="*/ 2393136 h 4067783"/>
              <a:gd name="connsiteX23" fmla="*/ 99569 w 3981574"/>
              <a:gd name="connsiteY23" fmla="*/ 2317784 h 4067783"/>
              <a:gd name="connsiteX24" fmla="*/ 0 w 3981574"/>
              <a:gd name="connsiteY24" fmla="*/ 2317784 h 4067783"/>
              <a:gd name="connsiteX25" fmla="*/ 0 w 3981574"/>
              <a:gd name="connsiteY25" fmla="*/ 2195250 h 4067783"/>
              <a:gd name="connsiteX26" fmla="*/ 99569 w 3981574"/>
              <a:gd name="connsiteY26" fmla="*/ 2195250 h 4067783"/>
              <a:gd name="connsiteX27" fmla="*/ 229754 w 3981574"/>
              <a:gd name="connsiteY27" fmla="*/ 2119898 h 4067783"/>
              <a:gd name="connsiteX28" fmla="*/ 333478 w 3981574"/>
              <a:gd name="connsiteY28" fmla="*/ 1940774 h 4067783"/>
              <a:gd name="connsiteX29" fmla="*/ 333478 w 3981574"/>
              <a:gd name="connsiteY29" fmla="*/ 1791046 h 4067783"/>
              <a:gd name="connsiteX30" fmla="*/ 229754 w 3981574"/>
              <a:gd name="connsiteY30" fmla="*/ 1611922 h 4067783"/>
              <a:gd name="connsiteX31" fmla="*/ 99569 w 3981574"/>
              <a:gd name="connsiteY31" fmla="*/ 1536570 h 4067783"/>
              <a:gd name="connsiteX32" fmla="*/ 0 w 3981574"/>
              <a:gd name="connsiteY32" fmla="*/ 1536570 h 4067783"/>
              <a:gd name="connsiteX33" fmla="*/ 0 w 3981574"/>
              <a:gd name="connsiteY33" fmla="*/ 1414036 h 4067783"/>
              <a:gd name="connsiteX34" fmla="*/ 99569 w 3981574"/>
              <a:gd name="connsiteY34" fmla="*/ 1414036 h 4067783"/>
              <a:gd name="connsiteX35" fmla="*/ 229754 w 3981574"/>
              <a:gd name="connsiteY35" fmla="*/ 1338684 h 4067783"/>
              <a:gd name="connsiteX36" fmla="*/ 333478 w 3981574"/>
              <a:gd name="connsiteY36" fmla="*/ 1159560 h 4067783"/>
              <a:gd name="connsiteX37" fmla="*/ 333478 w 3981574"/>
              <a:gd name="connsiteY37" fmla="*/ 1009832 h 4067783"/>
              <a:gd name="connsiteX38" fmla="*/ 229754 w 3981574"/>
              <a:gd name="connsiteY38" fmla="*/ 830708 h 4067783"/>
              <a:gd name="connsiteX39" fmla="*/ 99569 w 3981574"/>
              <a:gd name="connsiteY39" fmla="*/ 755356 h 4067783"/>
              <a:gd name="connsiteX40" fmla="*/ 0 w 3981574"/>
              <a:gd name="connsiteY40" fmla="*/ 755356 h 4067783"/>
              <a:gd name="connsiteX41" fmla="*/ 0 w 3981574"/>
              <a:gd name="connsiteY41" fmla="*/ 710934 h 4067783"/>
              <a:gd name="connsiteX42" fmla="*/ 0 w 3981574"/>
              <a:gd name="connsiteY42" fmla="*/ 666736 h 4067783"/>
              <a:gd name="connsiteX43" fmla="*/ 0 w 3981574"/>
              <a:gd name="connsiteY43" fmla="*/ 599690 h 4067783"/>
              <a:gd name="connsiteX44" fmla="*/ 211353 w 3981574"/>
              <a:gd name="connsiteY44" fmla="*/ 599690 h 4067783"/>
              <a:gd name="connsiteX45" fmla="*/ 414226 w 3981574"/>
              <a:gd name="connsiteY45" fmla="*/ 483077 h 4067783"/>
              <a:gd name="connsiteX46" fmla="*/ 625579 w 3981574"/>
              <a:gd name="connsiteY46" fmla="*/ 116399 h 4067783"/>
              <a:gd name="connsiteX47" fmla="*/ 655682 w 3981574"/>
              <a:gd name="connsiteY47" fmla="*/ 0 h 4067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81574" h="4067783">
                <a:moveTo>
                  <a:pt x="655682" y="0"/>
                </a:moveTo>
                <a:lnTo>
                  <a:pt x="3852261" y="0"/>
                </a:lnTo>
                <a:cubicBezTo>
                  <a:pt x="3923277" y="0"/>
                  <a:pt x="3981574" y="58200"/>
                  <a:pt x="3981574" y="129403"/>
                </a:cubicBezTo>
                <a:lnTo>
                  <a:pt x="3981574" y="3938380"/>
                </a:lnTo>
                <a:cubicBezTo>
                  <a:pt x="3981574" y="4009584"/>
                  <a:pt x="3923277" y="4067783"/>
                  <a:pt x="3852261" y="4067783"/>
                </a:cubicBezTo>
                <a:lnTo>
                  <a:pt x="129525" y="4067783"/>
                </a:lnTo>
                <a:cubicBezTo>
                  <a:pt x="58297" y="4067783"/>
                  <a:pt x="0" y="4009584"/>
                  <a:pt x="0" y="3938380"/>
                </a:cubicBezTo>
                <a:lnTo>
                  <a:pt x="0" y="3889983"/>
                </a:lnTo>
                <a:lnTo>
                  <a:pt x="0" y="3845533"/>
                </a:lnTo>
                <a:lnTo>
                  <a:pt x="0" y="3757679"/>
                </a:lnTo>
                <a:lnTo>
                  <a:pt x="99569" y="3757679"/>
                </a:lnTo>
                <a:cubicBezTo>
                  <a:pt x="153400" y="3757679"/>
                  <a:pt x="202350" y="3729289"/>
                  <a:pt x="229754" y="3682327"/>
                </a:cubicBezTo>
                <a:lnTo>
                  <a:pt x="333478" y="3503203"/>
                </a:lnTo>
                <a:cubicBezTo>
                  <a:pt x="359906" y="3457217"/>
                  <a:pt x="359906" y="3399461"/>
                  <a:pt x="333478" y="3353475"/>
                </a:cubicBezTo>
                <a:lnTo>
                  <a:pt x="229754" y="3174351"/>
                </a:lnTo>
                <a:cubicBezTo>
                  <a:pt x="202350" y="3127390"/>
                  <a:pt x="153400" y="3098999"/>
                  <a:pt x="99569" y="3098999"/>
                </a:cubicBezTo>
                <a:lnTo>
                  <a:pt x="0" y="3098999"/>
                </a:lnTo>
                <a:lnTo>
                  <a:pt x="0" y="2976464"/>
                </a:lnTo>
                <a:lnTo>
                  <a:pt x="99569" y="2976464"/>
                </a:lnTo>
                <a:cubicBezTo>
                  <a:pt x="153400" y="2976464"/>
                  <a:pt x="202350" y="2948074"/>
                  <a:pt x="229754" y="2901112"/>
                </a:cubicBezTo>
                <a:lnTo>
                  <a:pt x="333478" y="2721988"/>
                </a:lnTo>
                <a:cubicBezTo>
                  <a:pt x="359906" y="2676002"/>
                  <a:pt x="359906" y="2618246"/>
                  <a:pt x="333478" y="2572260"/>
                </a:cubicBezTo>
                <a:lnTo>
                  <a:pt x="229754" y="2393136"/>
                </a:lnTo>
                <a:cubicBezTo>
                  <a:pt x="202350" y="2346174"/>
                  <a:pt x="153400" y="2317784"/>
                  <a:pt x="99569" y="2317784"/>
                </a:cubicBezTo>
                <a:lnTo>
                  <a:pt x="0" y="2317784"/>
                </a:lnTo>
                <a:lnTo>
                  <a:pt x="0" y="2195250"/>
                </a:lnTo>
                <a:lnTo>
                  <a:pt x="99569" y="2195250"/>
                </a:lnTo>
                <a:cubicBezTo>
                  <a:pt x="153400" y="2195250"/>
                  <a:pt x="202350" y="2166860"/>
                  <a:pt x="229754" y="2119898"/>
                </a:cubicBezTo>
                <a:lnTo>
                  <a:pt x="333478" y="1940774"/>
                </a:lnTo>
                <a:cubicBezTo>
                  <a:pt x="359906" y="1894788"/>
                  <a:pt x="359906" y="1837032"/>
                  <a:pt x="333478" y="1791046"/>
                </a:cubicBezTo>
                <a:lnTo>
                  <a:pt x="229754" y="1611922"/>
                </a:lnTo>
                <a:cubicBezTo>
                  <a:pt x="202350" y="1564960"/>
                  <a:pt x="153400" y="1536570"/>
                  <a:pt x="99569" y="1536570"/>
                </a:cubicBezTo>
                <a:lnTo>
                  <a:pt x="0" y="1536570"/>
                </a:lnTo>
                <a:lnTo>
                  <a:pt x="0" y="1414036"/>
                </a:lnTo>
                <a:lnTo>
                  <a:pt x="99569" y="1414036"/>
                </a:lnTo>
                <a:cubicBezTo>
                  <a:pt x="153400" y="1414036"/>
                  <a:pt x="202350" y="1385646"/>
                  <a:pt x="229754" y="1338684"/>
                </a:cubicBezTo>
                <a:lnTo>
                  <a:pt x="333478" y="1159560"/>
                </a:lnTo>
                <a:cubicBezTo>
                  <a:pt x="359906" y="1113574"/>
                  <a:pt x="359906" y="1055818"/>
                  <a:pt x="333478" y="1009832"/>
                </a:cubicBezTo>
                <a:lnTo>
                  <a:pt x="229754" y="830708"/>
                </a:lnTo>
                <a:cubicBezTo>
                  <a:pt x="202350" y="783746"/>
                  <a:pt x="153400" y="755356"/>
                  <a:pt x="99569" y="755356"/>
                </a:cubicBezTo>
                <a:lnTo>
                  <a:pt x="0" y="755356"/>
                </a:lnTo>
                <a:lnTo>
                  <a:pt x="0" y="710934"/>
                </a:lnTo>
                <a:lnTo>
                  <a:pt x="0" y="666736"/>
                </a:lnTo>
                <a:lnTo>
                  <a:pt x="0" y="599690"/>
                </a:lnTo>
                <a:lnTo>
                  <a:pt x="211353" y="599690"/>
                </a:lnTo>
                <a:cubicBezTo>
                  <a:pt x="295513" y="599690"/>
                  <a:pt x="370981" y="554281"/>
                  <a:pt x="414226" y="483077"/>
                </a:cubicBezTo>
                <a:lnTo>
                  <a:pt x="625579" y="116399"/>
                </a:lnTo>
                <a:cubicBezTo>
                  <a:pt x="647202" y="79731"/>
                  <a:pt x="655682" y="40932"/>
                  <a:pt x="655682" y="0"/>
                </a:cubicBezTo>
                <a:close/>
              </a:path>
            </a:pathLst>
          </a:custGeom>
          <a:solidFill>
            <a:srgbClr val="385D8A"/>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dirty="0"/>
          </a:p>
        </p:txBody>
      </p:sp>
      <p:sp>
        <p:nvSpPr>
          <p:cNvPr id="5" name="Freeform: Shape 46">
            <a:extLst>
              <a:ext uri="{FF2B5EF4-FFF2-40B4-BE49-F238E27FC236}">
                <a16:creationId xmlns:a16="http://schemas.microsoft.com/office/drawing/2014/main" id="{A0A00C16-FC25-489F-92E3-212E5C38389A}"/>
              </a:ext>
            </a:extLst>
          </p:cNvPr>
          <p:cNvSpPr/>
          <p:nvPr/>
        </p:nvSpPr>
        <p:spPr>
          <a:xfrm flipH="1">
            <a:off x="5097892" y="1702201"/>
            <a:ext cx="883667" cy="803921"/>
          </a:xfrm>
          <a:custGeom>
            <a:avLst/>
            <a:gdLst>
              <a:gd name="connsiteX0" fmla="*/ 400076 w 1178234"/>
              <a:gd name="connsiteY0" fmla="*/ 0 h 1071894"/>
              <a:gd name="connsiteX1" fmla="*/ 779748 w 1178234"/>
              <a:gd name="connsiteY1" fmla="*/ 0 h 1071894"/>
              <a:gd name="connsiteX2" fmla="*/ 960787 w 1178234"/>
              <a:gd name="connsiteY2" fmla="*/ 103608 h 1071894"/>
              <a:gd name="connsiteX3" fmla="*/ 1150728 w 1178234"/>
              <a:gd name="connsiteY3" fmla="*/ 431273 h 1071894"/>
              <a:gd name="connsiteX4" fmla="*/ 1150728 w 1178234"/>
              <a:gd name="connsiteY4" fmla="*/ 640621 h 1071894"/>
              <a:gd name="connsiteX5" fmla="*/ 960787 w 1178234"/>
              <a:gd name="connsiteY5" fmla="*/ 968500 h 1071894"/>
              <a:gd name="connsiteX6" fmla="*/ 779748 w 1178234"/>
              <a:gd name="connsiteY6" fmla="*/ 1071894 h 1071894"/>
              <a:gd name="connsiteX7" fmla="*/ 400076 w 1178234"/>
              <a:gd name="connsiteY7" fmla="*/ 1071894 h 1071894"/>
              <a:gd name="connsiteX8" fmla="*/ 218826 w 1178234"/>
              <a:gd name="connsiteY8" fmla="*/ 968500 h 1071894"/>
              <a:gd name="connsiteX9" fmla="*/ 29096 w 1178234"/>
              <a:gd name="connsiteY9" fmla="*/ 640621 h 1071894"/>
              <a:gd name="connsiteX10" fmla="*/ 29096 w 1178234"/>
              <a:gd name="connsiteY10" fmla="*/ 431273 h 1071894"/>
              <a:gd name="connsiteX11" fmla="*/ 218826 w 1178234"/>
              <a:gd name="connsiteY11" fmla="*/ 103608 h 1071894"/>
              <a:gd name="connsiteX12" fmla="*/ 400076 w 1178234"/>
              <a:gd name="connsiteY12" fmla="*/ 0 h 107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8234" h="1071894">
                <a:moveTo>
                  <a:pt x="400076" y="0"/>
                </a:moveTo>
                <a:lnTo>
                  <a:pt x="779748" y="0"/>
                </a:lnTo>
                <a:cubicBezTo>
                  <a:pt x="855216" y="0"/>
                  <a:pt x="921993" y="38800"/>
                  <a:pt x="960787" y="103608"/>
                </a:cubicBezTo>
                <a:lnTo>
                  <a:pt x="1150728" y="431273"/>
                </a:lnTo>
                <a:cubicBezTo>
                  <a:pt x="1187403" y="496082"/>
                  <a:pt x="1187403" y="575813"/>
                  <a:pt x="1150728" y="640621"/>
                </a:cubicBezTo>
                <a:lnTo>
                  <a:pt x="960787" y="968500"/>
                </a:lnTo>
                <a:cubicBezTo>
                  <a:pt x="924112" y="1033095"/>
                  <a:pt x="855216" y="1071894"/>
                  <a:pt x="779748" y="1071894"/>
                </a:cubicBezTo>
                <a:lnTo>
                  <a:pt x="400076" y="1071894"/>
                </a:lnTo>
                <a:cubicBezTo>
                  <a:pt x="324608" y="1071894"/>
                  <a:pt x="257832" y="1033095"/>
                  <a:pt x="218826" y="968500"/>
                </a:cubicBezTo>
                <a:lnTo>
                  <a:pt x="29096" y="640621"/>
                </a:lnTo>
                <a:cubicBezTo>
                  <a:pt x="-9699" y="575813"/>
                  <a:pt x="-9699" y="496082"/>
                  <a:pt x="29096" y="431273"/>
                </a:cubicBezTo>
                <a:lnTo>
                  <a:pt x="218826" y="103608"/>
                </a:lnTo>
                <a:cubicBezTo>
                  <a:pt x="255500" y="38800"/>
                  <a:pt x="324608" y="0"/>
                  <a:pt x="400076" y="0"/>
                </a:cubicBezTo>
                <a:close/>
              </a:path>
            </a:pathLst>
          </a:custGeom>
          <a:solidFill>
            <a:srgbClr val="004575"/>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6" name="Freeform: Shape 47">
            <a:extLst>
              <a:ext uri="{FF2B5EF4-FFF2-40B4-BE49-F238E27FC236}">
                <a16:creationId xmlns:a16="http://schemas.microsoft.com/office/drawing/2014/main" id="{7BCEF7AE-07CA-45F2-B1E8-A6B0BBAA6CDD}"/>
              </a:ext>
            </a:extLst>
          </p:cNvPr>
          <p:cNvSpPr/>
          <p:nvPr/>
        </p:nvSpPr>
        <p:spPr>
          <a:xfrm>
            <a:off x="6651171" y="2104963"/>
            <a:ext cx="2986181" cy="3050837"/>
          </a:xfrm>
          <a:custGeom>
            <a:avLst/>
            <a:gdLst>
              <a:gd name="connsiteX0" fmla="*/ 655682 w 3981574"/>
              <a:gd name="connsiteY0" fmla="*/ 0 h 4067783"/>
              <a:gd name="connsiteX1" fmla="*/ 3852261 w 3981574"/>
              <a:gd name="connsiteY1" fmla="*/ 0 h 4067783"/>
              <a:gd name="connsiteX2" fmla="*/ 3981574 w 3981574"/>
              <a:gd name="connsiteY2" fmla="*/ 129403 h 4067783"/>
              <a:gd name="connsiteX3" fmla="*/ 3981574 w 3981574"/>
              <a:gd name="connsiteY3" fmla="*/ 3938380 h 4067783"/>
              <a:gd name="connsiteX4" fmla="*/ 3852261 w 3981574"/>
              <a:gd name="connsiteY4" fmla="*/ 4067783 h 4067783"/>
              <a:gd name="connsiteX5" fmla="*/ 129525 w 3981574"/>
              <a:gd name="connsiteY5" fmla="*/ 4067783 h 4067783"/>
              <a:gd name="connsiteX6" fmla="*/ 0 w 3981574"/>
              <a:gd name="connsiteY6" fmla="*/ 3938380 h 4067783"/>
              <a:gd name="connsiteX7" fmla="*/ 0 w 3981574"/>
              <a:gd name="connsiteY7" fmla="*/ 3889983 h 4067783"/>
              <a:gd name="connsiteX8" fmla="*/ 0 w 3981574"/>
              <a:gd name="connsiteY8" fmla="*/ 3845533 h 4067783"/>
              <a:gd name="connsiteX9" fmla="*/ 0 w 3981574"/>
              <a:gd name="connsiteY9" fmla="*/ 3757679 h 4067783"/>
              <a:gd name="connsiteX10" fmla="*/ 99569 w 3981574"/>
              <a:gd name="connsiteY10" fmla="*/ 3757679 h 4067783"/>
              <a:gd name="connsiteX11" fmla="*/ 229754 w 3981574"/>
              <a:gd name="connsiteY11" fmla="*/ 3682327 h 4067783"/>
              <a:gd name="connsiteX12" fmla="*/ 333478 w 3981574"/>
              <a:gd name="connsiteY12" fmla="*/ 3503203 h 4067783"/>
              <a:gd name="connsiteX13" fmla="*/ 333478 w 3981574"/>
              <a:gd name="connsiteY13" fmla="*/ 3353475 h 4067783"/>
              <a:gd name="connsiteX14" fmla="*/ 229754 w 3981574"/>
              <a:gd name="connsiteY14" fmla="*/ 3174351 h 4067783"/>
              <a:gd name="connsiteX15" fmla="*/ 99569 w 3981574"/>
              <a:gd name="connsiteY15" fmla="*/ 3098999 h 4067783"/>
              <a:gd name="connsiteX16" fmla="*/ 0 w 3981574"/>
              <a:gd name="connsiteY16" fmla="*/ 3098999 h 4067783"/>
              <a:gd name="connsiteX17" fmla="*/ 0 w 3981574"/>
              <a:gd name="connsiteY17" fmla="*/ 2976464 h 4067783"/>
              <a:gd name="connsiteX18" fmla="*/ 99569 w 3981574"/>
              <a:gd name="connsiteY18" fmla="*/ 2976464 h 4067783"/>
              <a:gd name="connsiteX19" fmla="*/ 229754 w 3981574"/>
              <a:gd name="connsiteY19" fmla="*/ 2901112 h 4067783"/>
              <a:gd name="connsiteX20" fmla="*/ 333478 w 3981574"/>
              <a:gd name="connsiteY20" fmla="*/ 2721988 h 4067783"/>
              <a:gd name="connsiteX21" fmla="*/ 333478 w 3981574"/>
              <a:gd name="connsiteY21" fmla="*/ 2572260 h 4067783"/>
              <a:gd name="connsiteX22" fmla="*/ 229754 w 3981574"/>
              <a:gd name="connsiteY22" fmla="*/ 2393136 h 4067783"/>
              <a:gd name="connsiteX23" fmla="*/ 99569 w 3981574"/>
              <a:gd name="connsiteY23" fmla="*/ 2317784 h 4067783"/>
              <a:gd name="connsiteX24" fmla="*/ 0 w 3981574"/>
              <a:gd name="connsiteY24" fmla="*/ 2317784 h 4067783"/>
              <a:gd name="connsiteX25" fmla="*/ 0 w 3981574"/>
              <a:gd name="connsiteY25" fmla="*/ 2195250 h 4067783"/>
              <a:gd name="connsiteX26" fmla="*/ 99569 w 3981574"/>
              <a:gd name="connsiteY26" fmla="*/ 2195250 h 4067783"/>
              <a:gd name="connsiteX27" fmla="*/ 229754 w 3981574"/>
              <a:gd name="connsiteY27" fmla="*/ 2119898 h 4067783"/>
              <a:gd name="connsiteX28" fmla="*/ 333478 w 3981574"/>
              <a:gd name="connsiteY28" fmla="*/ 1940774 h 4067783"/>
              <a:gd name="connsiteX29" fmla="*/ 333478 w 3981574"/>
              <a:gd name="connsiteY29" fmla="*/ 1791046 h 4067783"/>
              <a:gd name="connsiteX30" fmla="*/ 229754 w 3981574"/>
              <a:gd name="connsiteY30" fmla="*/ 1611922 h 4067783"/>
              <a:gd name="connsiteX31" fmla="*/ 99569 w 3981574"/>
              <a:gd name="connsiteY31" fmla="*/ 1536570 h 4067783"/>
              <a:gd name="connsiteX32" fmla="*/ 0 w 3981574"/>
              <a:gd name="connsiteY32" fmla="*/ 1536570 h 4067783"/>
              <a:gd name="connsiteX33" fmla="*/ 0 w 3981574"/>
              <a:gd name="connsiteY33" fmla="*/ 1414036 h 4067783"/>
              <a:gd name="connsiteX34" fmla="*/ 99569 w 3981574"/>
              <a:gd name="connsiteY34" fmla="*/ 1414036 h 4067783"/>
              <a:gd name="connsiteX35" fmla="*/ 229754 w 3981574"/>
              <a:gd name="connsiteY35" fmla="*/ 1338684 h 4067783"/>
              <a:gd name="connsiteX36" fmla="*/ 333478 w 3981574"/>
              <a:gd name="connsiteY36" fmla="*/ 1159560 h 4067783"/>
              <a:gd name="connsiteX37" fmla="*/ 333478 w 3981574"/>
              <a:gd name="connsiteY37" fmla="*/ 1009832 h 4067783"/>
              <a:gd name="connsiteX38" fmla="*/ 229754 w 3981574"/>
              <a:gd name="connsiteY38" fmla="*/ 830708 h 4067783"/>
              <a:gd name="connsiteX39" fmla="*/ 99569 w 3981574"/>
              <a:gd name="connsiteY39" fmla="*/ 755356 h 4067783"/>
              <a:gd name="connsiteX40" fmla="*/ 0 w 3981574"/>
              <a:gd name="connsiteY40" fmla="*/ 755356 h 4067783"/>
              <a:gd name="connsiteX41" fmla="*/ 0 w 3981574"/>
              <a:gd name="connsiteY41" fmla="*/ 710934 h 4067783"/>
              <a:gd name="connsiteX42" fmla="*/ 0 w 3981574"/>
              <a:gd name="connsiteY42" fmla="*/ 666736 h 4067783"/>
              <a:gd name="connsiteX43" fmla="*/ 0 w 3981574"/>
              <a:gd name="connsiteY43" fmla="*/ 599690 h 4067783"/>
              <a:gd name="connsiteX44" fmla="*/ 211353 w 3981574"/>
              <a:gd name="connsiteY44" fmla="*/ 599690 h 4067783"/>
              <a:gd name="connsiteX45" fmla="*/ 414226 w 3981574"/>
              <a:gd name="connsiteY45" fmla="*/ 483077 h 4067783"/>
              <a:gd name="connsiteX46" fmla="*/ 625579 w 3981574"/>
              <a:gd name="connsiteY46" fmla="*/ 116399 h 4067783"/>
              <a:gd name="connsiteX47" fmla="*/ 655682 w 3981574"/>
              <a:gd name="connsiteY47" fmla="*/ 0 h 4067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81574" h="4067783">
                <a:moveTo>
                  <a:pt x="655682" y="0"/>
                </a:moveTo>
                <a:lnTo>
                  <a:pt x="3852261" y="0"/>
                </a:lnTo>
                <a:cubicBezTo>
                  <a:pt x="3923277" y="0"/>
                  <a:pt x="3981574" y="58200"/>
                  <a:pt x="3981574" y="129403"/>
                </a:cubicBezTo>
                <a:lnTo>
                  <a:pt x="3981574" y="3938380"/>
                </a:lnTo>
                <a:cubicBezTo>
                  <a:pt x="3981574" y="4009584"/>
                  <a:pt x="3923277" y="4067783"/>
                  <a:pt x="3852261" y="4067783"/>
                </a:cubicBezTo>
                <a:lnTo>
                  <a:pt x="129525" y="4067783"/>
                </a:lnTo>
                <a:cubicBezTo>
                  <a:pt x="58297" y="4067783"/>
                  <a:pt x="0" y="4009584"/>
                  <a:pt x="0" y="3938380"/>
                </a:cubicBezTo>
                <a:lnTo>
                  <a:pt x="0" y="3889983"/>
                </a:lnTo>
                <a:lnTo>
                  <a:pt x="0" y="3845533"/>
                </a:lnTo>
                <a:lnTo>
                  <a:pt x="0" y="3757679"/>
                </a:lnTo>
                <a:lnTo>
                  <a:pt x="99569" y="3757679"/>
                </a:lnTo>
                <a:cubicBezTo>
                  <a:pt x="153400" y="3757679"/>
                  <a:pt x="202350" y="3729289"/>
                  <a:pt x="229754" y="3682327"/>
                </a:cubicBezTo>
                <a:lnTo>
                  <a:pt x="333478" y="3503203"/>
                </a:lnTo>
                <a:cubicBezTo>
                  <a:pt x="359906" y="3457217"/>
                  <a:pt x="359906" y="3399461"/>
                  <a:pt x="333478" y="3353475"/>
                </a:cubicBezTo>
                <a:lnTo>
                  <a:pt x="229754" y="3174351"/>
                </a:lnTo>
                <a:cubicBezTo>
                  <a:pt x="202350" y="3127390"/>
                  <a:pt x="153400" y="3098999"/>
                  <a:pt x="99569" y="3098999"/>
                </a:cubicBezTo>
                <a:lnTo>
                  <a:pt x="0" y="3098999"/>
                </a:lnTo>
                <a:lnTo>
                  <a:pt x="0" y="2976464"/>
                </a:lnTo>
                <a:lnTo>
                  <a:pt x="99569" y="2976464"/>
                </a:lnTo>
                <a:cubicBezTo>
                  <a:pt x="153400" y="2976464"/>
                  <a:pt x="202350" y="2948074"/>
                  <a:pt x="229754" y="2901112"/>
                </a:cubicBezTo>
                <a:lnTo>
                  <a:pt x="333478" y="2721988"/>
                </a:lnTo>
                <a:cubicBezTo>
                  <a:pt x="359906" y="2676002"/>
                  <a:pt x="359906" y="2618246"/>
                  <a:pt x="333478" y="2572260"/>
                </a:cubicBezTo>
                <a:lnTo>
                  <a:pt x="229754" y="2393136"/>
                </a:lnTo>
                <a:cubicBezTo>
                  <a:pt x="202350" y="2346174"/>
                  <a:pt x="153400" y="2317784"/>
                  <a:pt x="99569" y="2317784"/>
                </a:cubicBezTo>
                <a:lnTo>
                  <a:pt x="0" y="2317784"/>
                </a:lnTo>
                <a:lnTo>
                  <a:pt x="0" y="2195250"/>
                </a:lnTo>
                <a:lnTo>
                  <a:pt x="99569" y="2195250"/>
                </a:lnTo>
                <a:cubicBezTo>
                  <a:pt x="153400" y="2195250"/>
                  <a:pt x="202350" y="2166860"/>
                  <a:pt x="229754" y="2119898"/>
                </a:cubicBezTo>
                <a:lnTo>
                  <a:pt x="333478" y="1940774"/>
                </a:lnTo>
                <a:cubicBezTo>
                  <a:pt x="359906" y="1894788"/>
                  <a:pt x="359906" y="1837032"/>
                  <a:pt x="333478" y="1791046"/>
                </a:cubicBezTo>
                <a:lnTo>
                  <a:pt x="229754" y="1611922"/>
                </a:lnTo>
                <a:cubicBezTo>
                  <a:pt x="202350" y="1564960"/>
                  <a:pt x="153400" y="1536570"/>
                  <a:pt x="99569" y="1536570"/>
                </a:cubicBezTo>
                <a:lnTo>
                  <a:pt x="0" y="1536570"/>
                </a:lnTo>
                <a:lnTo>
                  <a:pt x="0" y="1414036"/>
                </a:lnTo>
                <a:lnTo>
                  <a:pt x="99569" y="1414036"/>
                </a:lnTo>
                <a:cubicBezTo>
                  <a:pt x="153400" y="1414036"/>
                  <a:pt x="202350" y="1385646"/>
                  <a:pt x="229754" y="1338684"/>
                </a:cubicBezTo>
                <a:lnTo>
                  <a:pt x="333478" y="1159560"/>
                </a:lnTo>
                <a:cubicBezTo>
                  <a:pt x="359906" y="1113574"/>
                  <a:pt x="359906" y="1055818"/>
                  <a:pt x="333478" y="1009832"/>
                </a:cubicBezTo>
                <a:lnTo>
                  <a:pt x="229754" y="830708"/>
                </a:lnTo>
                <a:cubicBezTo>
                  <a:pt x="202350" y="783746"/>
                  <a:pt x="153400" y="755356"/>
                  <a:pt x="99569" y="755356"/>
                </a:cubicBezTo>
                <a:lnTo>
                  <a:pt x="0" y="755356"/>
                </a:lnTo>
                <a:lnTo>
                  <a:pt x="0" y="710934"/>
                </a:lnTo>
                <a:lnTo>
                  <a:pt x="0" y="666736"/>
                </a:lnTo>
                <a:lnTo>
                  <a:pt x="0" y="599690"/>
                </a:lnTo>
                <a:lnTo>
                  <a:pt x="211353" y="599690"/>
                </a:lnTo>
                <a:cubicBezTo>
                  <a:pt x="295513" y="599690"/>
                  <a:pt x="370981" y="554281"/>
                  <a:pt x="414226" y="483077"/>
                </a:cubicBezTo>
                <a:lnTo>
                  <a:pt x="625579" y="116399"/>
                </a:lnTo>
                <a:cubicBezTo>
                  <a:pt x="647202" y="79731"/>
                  <a:pt x="655682" y="40932"/>
                  <a:pt x="655682" y="0"/>
                </a:cubicBezTo>
                <a:close/>
              </a:path>
            </a:pathLst>
          </a:custGeom>
          <a:solidFill>
            <a:srgbClr val="FF004D"/>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7" name="Freeform: Shape 48">
            <a:extLst>
              <a:ext uri="{FF2B5EF4-FFF2-40B4-BE49-F238E27FC236}">
                <a16:creationId xmlns:a16="http://schemas.microsoft.com/office/drawing/2014/main" id="{90934388-F6A0-4B40-8757-ABAB63EA85BB}"/>
              </a:ext>
            </a:extLst>
          </p:cNvPr>
          <p:cNvSpPr/>
          <p:nvPr/>
        </p:nvSpPr>
        <p:spPr>
          <a:xfrm>
            <a:off x="6210406" y="1702201"/>
            <a:ext cx="883676" cy="803921"/>
          </a:xfrm>
          <a:custGeom>
            <a:avLst/>
            <a:gdLst>
              <a:gd name="connsiteX0" fmla="*/ 400076 w 1178234"/>
              <a:gd name="connsiteY0" fmla="*/ 0 h 1071894"/>
              <a:gd name="connsiteX1" fmla="*/ 779748 w 1178234"/>
              <a:gd name="connsiteY1" fmla="*/ 0 h 1071894"/>
              <a:gd name="connsiteX2" fmla="*/ 960787 w 1178234"/>
              <a:gd name="connsiteY2" fmla="*/ 103608 h 1071894"/>
              <a:gd name="connsiteX3" fmla="*/ 1150728 w 1178234"/>
              <a:gd name="connsiteY3" fmla="*/ 431273 h 1071894"/>
              <a:gd name="connsiteX4" fmla="*/ 1150728 w 1178234"/>
              <a:gd name="connsiteY4" fmla="*/ 640621 h 1071894"/>
              <a:gd name="connsiteX5" fmla="*/ 960787 w 1178234"/>
              <a:gd name="connsiteY5" fmla="*/ 968500 h 1071894"/>
              <a:gd name="connsiteX6" fmla="*/ 779748 w 1178234"/>
              <a:gd name="connsiteY6" fmla="*/ 1071894 h 1071894"/>
              <a:gd name="connsiteX7" fmla="*/ 400076 w 1178234"/>
              <a:gd name="connsiteY7" fmla="*/ 1071894 h 1071894"/>
              <a:gd name="connsiteX8" fmla="*/ 218826 w 1178234"/>
              <a:gd name="connsiteY8" fmla="*/ 968500 h 1071894"/>
              <a:gd name="connsiteX9" fmla="*/ 29096 w 1178234"/>
              <a:gd name="connsiteY9" fmla="*/ 640621 h 1071894"/>
              <a:gd name="connsiteX10" fmla="*/ 29096 w 1178234"/>
              <a:gd name="connsiteY10" fmla="*/ 431273 h 1071894"/>
              <a:gd name="connsiteX11" fmla="*/ 218826 w 1178234"/>
              <a:gd name="connsiteY11" fmla="*/ 103608 h 1071894"/>
              <a:gd name="connsiteX12" fmla="*/ 400076 w 1178234"/>
              <a:gd name="connsiteY12" fmla="*/ 0 h 107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8234" h="1071894">
                <a:moveTo>
                  <a:pt x="400076" y="0"/>
                </a:moveTo>
                <a:lnTo>
                  <a:pt x="779748" y="0"/>
                </a:lnTo>
                <a:cubicBezTo>
                  <a:pt x="855216" y="0"/>
                  <a:pt x="921993" y="38800"/>
                  <a:pt x="960787" y="103608"/>
                </a:cubicBezTo>
                <a:lnTo>
                  <a:pt x="1150728" y="431273"/>
                </a:lnTo>
                <a:cubicBezTo>
                  <a:pt x="1187403" y="496082"/>
                  <a:pt x="1187403" y="575813"/>
                  <a:pt x="1150728" y="640621"/>
                </a:cubicBezTo>
                <a:lnTo>
                  <a:pt x="960787" y="968500"/>
                </a:lnTo>
                <a:cubicBezTo>
                  <a:pt x="924112" y="1033095"/>
                  <a:pt x="855216" y="1071894"/>
                  <a:pt x="779748" y="1071894"/>
                </a:cubicBezTo>
                <a:lnTo>
                  <a:pt x="400076" y="1071894"/>
                </a:lnTo>
                <a:cubicBezTo>
                  <a:pt x="324608" y="1071894"/>
                  <a:pt x="257832" y="1033095"/>
                  <a:pt x="218826" y="968500"/>
                </a:cubicBezTo>
                <a:lnTo>
                  <a:pt x="29096" y="640621"/>
                </a:lnTo>
                <a:cubicBezTo>
                  <a:pt x="-9699" y="575813"/>
                  <a:pt x="-9699" y="496082"/>
                  <a:pt x="29096" y="431273"/>
                </a:cubicBezTo>
                <a:lnTo>
                  <a:pt x="218826" y="103608"/>
                </a:lnTo>
                <a:cubicBezTo>
                  <a:pt x="255500" y="38800"/>
                  <a:pt x="324608" y="0"/>
                  <a:pt x="400076" y="0"/>
                </a:cubicBezTo>
                <a:close/>
              </a:path>
            </a:pathLst>
          </a:custGeom>
          <a:solidFill>
            <a:srgbClr val="E61853"/>
          </a:solidFill>
          <a:ln w="12700">
            <a:miter lim="400000"/>
          </a:ln>
        </p:spPr>
        <p:txBody>
          <a:bodyPr wrap="square" lIns="28575" tIns="28575" rIns="28575" bIns="28575"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sz="2250"/>
          </a:p>
        </p:txBody>
      </p:sp>
      <p:pic>
        <p:nvPicPr>
          <p:cNvPr id="8" name="Graphic 49" descr="Thumbs Down with solid fill">
            <a:extLst>
              <a:ext uri="{FF2B5EF4-FFF2-40B4-BE49-F238E27FC236}">
                <a16:creationId xmlns:a16="http://schemas.microsoft.com/office/drawing/2014/main" id="{B5F100F0-FEA0-4D1F-81B1-24DCAB3083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63376" y="1815294"/>
            <a:ext cx="577738" cy="577738"/>
          </a:xfrm>
          <a:prstGeom prst="rect">
            <a:avLst/>
          </a:prstGeom>
          <a:effectLst>
            <a:outerShdw blurRad="50800" dist="38100" dir="2700000" algn="tl" rotWithShape="0">
              <a:prstClr val="black">
                <a:alpha val="40000"/>
              </a:prstClr>
            </a:outerShdw>
          </a:effectLst>
        </p:spPr>
      </p:pic>
      <p:sp>
        <p:nvSpPr>
          <p:cNvPr id="9" name="Shape">
            <a:extLst>
              <a:ext uri="{FF2B5EF4-FFF2-40B4-BE49-F238E27FC236}">
                <a16:creationId xmlns:a16="http://schemas.microsoft.com/office/drawing/2014/main" id="{6E610C4F-9CA0-4CE9-9BCC-AE3AE6F0EB0D}"/>
              </a:ext>
            </a:extLst>
          </p:cNvPr>
          <p:cNvSpPr/>
          <p:nvPr/>
        </p:nvSpPr>
        <p:spPr>
          <a:xfrm flipH="1">
            <a:off x="5266296" y="2665777"/>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8" name="TextBox 52">
            <a:extLst>
              <a:ext uri="{FF2B5EF4-FFF2-40B4-BE49-F238E27FC236}">
                <a16:creationId xmlns:a16="http://schemas.microsoft.com/office/drawing/2014/main" id="{7BA703ED-2E9B-435C-B09C-998808F3C223}"/>
              </a:ext>
            </a:extLst>
          </p:cNvPr>
          <p:cNvSpPr txBox="1"/>
          <p:nvPr/>
        </p:nvSpPr>
        <p:spPr>
          <a:xfrm flipH="1">
            <a:off x="2771544" y="2656526"/>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dirty="0">
                <a:solidFill>
                  <a:schemeClr val="bg1"/>
                </a:solidFill>
                <a:latin typeface="+mj-lt"/>
              </a:rPr>
              <a:t>Guider les équipes en difficultés</a:t>
            </a:r>
            <a:endParaRPr lang="en-US" sz="1350" b="1" noProof="1">
              <a:solidFill>
                <a:schemeClr val="bg1"/>
              </a:solidFill>
              <a:latin typeface="+mj-lt"/>
            </a:endParaRPr>
          </a:p>
        </p:txBody>
      </p:sp>
      <p:pic>
        <p:nvPicPr>
          <p:cNvPr id="11" name="Graphic 54" descr="Checkmark with solid fill">
            <a:extLst>
              <a:ext uri="{FF2B5EF4-FFF2-40B4-BE49-F238E27FC236}">
                <a16:creationId xmlns:a16="http://schemas.microsoft.com/office/drawing/2014/main" id="{2D78B5EA-1E1B-4CC3-B46A-359353E9C71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6948" y="2765694"/>
            <a:ext cx="294178" cy="294178"/>
          </a:xfrm>
          <a:prstGeom prst="rect">
            <a:avLst/>
          </a:prstGeom>
        </p:spPr>
      </p:pic>
      <p:sp>
        <p:nvSpPr>
          <p:cNvPr id="12" name="Shape">
            <a:extLst>
              <a:ext uri="{FF2B5EF4-FFF2-40B4-BE49-F238E27FC236}">
                <a16:creationId xmlns:a16="http://schemas.microsoft.com/office/drawing/2014/main" id="{68B8E3C0-772F-476B-A6E6-4756233A62C4}"/>
              </a:ext>
            </a:extLst>
          </p:cNvPr>
          <p:cNvSpPr/>
          <p:nvPr/>
        </p:nvSpPr>
        <p:spPr>
          <a:xfrm>
            <a:off x="6390189" y="2665777"/>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6" name="TextBox 57">
            <a:extLst>
              <a:ext uri="{FF2B5EF4-FFF2-40B4-BE49-F238E27FC236}">
                <a16:creationId xmlns:a16="http://schemas.microsoft.com/office/drawing/2014/main" id="{66F8E856-1480-4AF8-8E4E-5D671F24D54D}"/>
              </a:ext>
            </a:extLst>
          </p:cNvPr>
          <p:cNvSpPr txBox="1"/>
          <p:nvPr/>
        </p:nvSpPr>
        <p:spPr>
          <a:xfrm>
            <a:off x="7020153" y="2570136"/>
            <a:ext cx="2400300"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350" b="1" dirty="0">
                <a:solidFill>
                  <a:schemeClr val="bg1"/>
                </a:solidFill>
                <a:latin typeface="+mj-lt"/>
              </a:rPr>
              <a:t>Offrez des solutions prêtes à l’emploi</a:t>
            </a:r>
            <a:endParaRPr lang="en-US" sz="1350" b="1" noProof="1">
              <a:solidFill>
                <a:schemeClr val="bg1"/>
              </a:solidFill>
              <a:latin typeface="+mj-lt"/>
            </a:endParaRPr>
          </a:p>
        </p:txBody>
      </p:sp>
      <p:pic>
        <p:nvPicPr>
          <p:cNvPr id="14" name="Graphic 59" descr="Close with solid fill">
            <a:extLst>
              <a:ext uri="{FF2B5EF4-FFF2-40B4-BE49-F238E27FC236}">
                <a16:creationId xmlns:a16="http://schemas.microsoft.com/office/drawing/2014/main" id="{F4E293B2-FD90-4D33-9201-E3E04888578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2765694"/>
            <a:ext cx="294178" cy="294178"/>
          </a:xfrm>
          <a:prstGeom prst="rect">
            <a:avLst/>
          </a:prstGeom>
        </p:spPr>
      </p:pic>
      <p:sp>
        <p:nvSpPr>
          <p:cNvPr id="15" name="Shape">
            <a:extLst>
              <a:ext uri="{FF2B5EF4-FFF2-40B4-BE49-F238E27FC236}">
                <a16:creationId xmlns:a16="http://schemas.microsoft.com/office/drawing/2014/main" id="{47B45057-5814-4DC1-98C8-3EE1E4CF8800}"/>
              </a:ext>
            </a:extLst>
          </p:cNvPr>
          <p:cNvSpPr/>
          <p:nvPr/>
        </p:nvSpPr>
        <p:spPr>
          <a:xfrm flipH="1">
            <a:off x="5266296" y="3253127"/>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4" name="TextBox 62">
            <a:extLst>
              <a:ext uri="{FF2B5EF4-FFF2-40B4-BE49-F238E27FC236}">
                <a16:creationId xmlns:a16="http://schemas.microsoft.com/office/drawing/2014/main" id="{59906038-47D6-40BF-90A5-2D14F62295CF}"/>
              </a:ext>
            </a:extLst>
          </p:cNvPr>
          <p:cNvSpPr txBox="1"/>
          <p:nvPr/>
        </p:nvSpPr>
        <p:spPr>
          <a:xfrm flipH="1">
            <a:off x="2771544" y="3243876"/>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dirty="0">
                <a:solidFill>
                  <a:schemeClr val="bg1"/>
                </a:solidFill>
                <a:latin typeface="+mj-lt"/>
              </a:rPr>
              <a:t>Aider à la compréhension des jeux de données</a:t>
            </a:r>
            <a:endParaRPr lang="en-US" sz="1350" b="1" noProof="1">
              <a:solidFill>
                <a:schemeClr val="bg1"/>
              </a:solidFill>
              <a:latin typeface="+mj-lt"/>
            </a:endParaRPr>
          </a:p>
        </p:txBody>
      </p:sp>
      <p:sp>
        <p:nvSpPr>
          <p:cNvPr id="17" name="Shape">
            <a:extLst>
              <a:ext uri="{FF2B5EF4-FFF2-40B4-BE49-F238E27FC236}">
                <a16:creationId xmlns:a16="http://schemas.microsoft.com/office/drawing/2014/main" id="{F0CB07E6-0B5C-4404-9321-D57E8DF85C50}"/>
              </a:ext>
            </a:extLst>
          </p:cNvPr>
          <p:cNvSpPr/>
          <p:nvPr/>
        </p:nvSpPr>
        <p:spPr>
          <a:xfrm>
            <a:off x="6390189" y="3253127"/>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18" name="Graphic 65" descr="Close with solid fill">
            <a:extLst>
              <a:ext uri="{FF2B5EF4-FFF2-40B4-BE49-F238E27FC236}">
                <a16:creationId xmlns:a16="http://schemas.microsoft.com/office/drawing/2014/main" id="{9FDE0E67-2762-4C07-8DF3-B45176E742D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3353044"/>
            <a:ext cx="294178" cy="294178"/>
          </a:xfrm>
          <a:prstGeom prst="rect">
            <a:avLst/>
          </a:prstGeom>
        </p:spPr>
      </p:pic>
      <p:sp>
        <p:nvSpPr>
          <p:cNvPr id="42" name="TextBox 67">
            <a:extLst>
              <a:ext uri="{FF2B5EF4-FFF2-40B4-BE49-F238E27FC236}">
                <a16:creationId xmlns:a16="http://schemas.microsoft.com/office/drawing/2014/main" id="{6B6B732C-4913-4100-863C-69C16723FE37}"/>
              </a:ext>
            </a:extLst>
          </p:cNvPr>
          <p:cNvSpPr txBox="1"/>
          <p:nvPr/>
        </p:nvSpPr>
        <p:spPr>
          <a:xfrm>
            <a:off x="7020153" y="3352536"/>
            <a:ext cx="2400300" cy="30008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50" b="1" dirty="0" err="1">
                <a:solidFill>
                  <a:schemeClr val="bg1"/>
                </a:solidFill>
                <a:latin typeface="+mj-lt"/>
              </a:rPr>
              <a:t>Intervenir</a:t>
            </a:r>
            <a:r>
              <a:rPr lang="en-US" sz="1350" b="1" dirty="0">
                <a:solidFill>
                  <a:schemeClr val="bg1"/>
                </a:solidFill>
                <a:latin typeface="+mj-lt"/>
              </a:rPr>
              <a:t> sur le code</a:t>
            </a:r>
            <a:endParaRPr lang="en-US" sz="1350" b="1" noProof="1">
              <a:solidFill>
                <a:schemeClr val="bg1"/>
              </a:solidFill>
              <a:latin typeface="+mj-lt"/>
            </a:endParaRPr>
          </a:p>
        </p:txBody>
      </p:sp>
      <p:pic>
        <p:nvPicPr>
          <p:cNvPr id="20" name="Graphic 69" descr="Checkmark with solid fill">
            <a:extLst>
              <a:ext uri="{FF2B5EF4-FFF2-40B4-BE49-F238E27FC236}">
                <a16:creationId xmlns:a16="http://schemas.microsoft.com/office/drawing/2014/main" id="{37022CD9-6C23-454E-B191-F3A48543731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6948" y="3353044"/>
            <a:ext cx="294178" cy="294178"/>
          </a:xfrm>
          <a:prstGeom prst="rect">
            <a:avLst/>
          </a:prstGeom>
        </p:spPr>
      </p:pic>
      <p:sp>
        <p:nvSpPr>
          <p:cNvPr id="21" name="Shape">
            <a:extLst>
              <a:ext uri="{FF2B5EF4-FFF2-40B4-BE49-F238E27FC236}">
                <a16:creationId xmlns:a16="http://schemas.microsoft.com/office/drawing/2014/main" id="{33F39854-D214-4F3B-862B-DD901DE9373A}"/>
              </a:ext>
            </a:extLst>
          </p:cNvPr>
          <p:cNvSpPr/>
          <p:nvPr/>
        </p:nvSpPr>
        <p:spPr>
          <a:xfrm flipH="1">
            <a:off x="5266296" y="3840478"/>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sp>
        <p:nvSpPr>
          <p:cNvPr id="40" name="TextBox 72">
            <a:extLst>
              <a:ext uri="{FF2B5EF4-FFF2-40B4-BE49-F238E27FC236}">
                <a16:creationId xmlns:a16="http://schemas.microsoft.com/office/drawing/2014/main" id="{635666AC-8671-44FE-850E-0B49765C1A81}"/>
              </a:ext>
            </a:extLst>
          </p:cNvPr>
          <p:cNvSpPr txBox="1"/>
          <p:nvPr/>
        </p:nvSpPr>
        <p:spPr>
          <a:xfrm flipH="1">
            <a:off x="2771544" y="3831226"/>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dirty="0">
                <a:solidFill>
                  <a:schemeClr val="bg1"/>
                </a:solidFill>
                <a:latin typeface="+mj-lt"/>
              </a:rPr>
              <a:t>Aider en termes de méthodologie</a:t>
            </a:r>
            <a:endParaRPr lang="en-US" sz="1350" b="1" noProof="1">
              <a:solidFill>
                <a:schemeClr val="tx1">
                  <a:lumMod val="75000"/>
                  <a:lumOff val="25000"/>
                </a:schemeClr>
              </a:solidFill>
            </a:endParaRPr>
          </a:p>
        </p:txBody>
      </p:sp>
      <p:pic>
        <p:nvPicPr>
          <p:cNvPr id="26" name="Graphic 79" descr="Checkmark with solid fill">
            <a:extLst>
              <a:ext uri="{FF2B5EF4-FFF2-40B4-BE49-F238E27FC236}">
                <a16:creationId xmlns:a16="http://schemas.microsoft.com/office/drawing/2014/main" id="{AC4F5543-3AA3-4281-8033-AA71AAA15BA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6948" y="3940395"/>
            <a:ext cx="294178" cy="294178"/>
          </a:xfrm>
          <a:prstGeom prst="rect">
            <a:avLst/>
          </a:prstGeom>
        </p:spPr>
      </p:pic>
      <p:pic>
        <p:nvPicPr>
          <p:cNvPr id="33" name="Graphic 90" descr="Thumbs up sign with solid fill">
            <a:extLst>
              <a:ext uri="{FF2B5EF4-FFF2-40B4-BE49-F238E27FC236}">
                <a16:creationId xmlns:a16="http://schemas.microsoft.com/office/drawing/2014/main" id="{35DB8638-A5F7-453C-AA0F-26AF6BAFF83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50857" y="1815294"/>
            <a:ext cx="577738" cy="577738"/>
          </a:xfrm>
          <a:prstGeom prst="rect">
            <a:avLst/>
          </a:prstGeom>
          <a:effectLst>
            <a:outerShdw blurRad="50800" dist="38100" dir="2700000" algn="tl" rotWithShape="0">
              <a:prstClr val="black">
                <a:alpha val="40000"/>
              </a:prstClr>
            </a:outerShdw>
          </a:effectLst>
        </p:spPr>
      </p:pic>
      <p:sp>
        <p:nvSpPr>
          <p:cNvPr id="50" name="Shape">
            <a:extLst>
              <a:ext uri="{FF2B5EF4-FFF2-40B4-BE49-F238E27FC236}">
                <a16:creationId xmlns:a16="http://schemas.microsoft.com/office/drawing/2014/main" id="{08432059-C79D-4CA2-B2FC-602556EC348D}"/>
              </a:ext>
            </a:extLst>
          </p:cNvPr>
          <p:cNvSpPr/>
          <p:nvPr/>
        </p:nvSpPr>
        <p:spPr>
          <a:xfrm flipH="1">
            <a:off x="5253596" y="4437378"/>
            <a:ext cx="535481"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004575"/>
          </a:solidFill>
          <a:ln w="12700">
            <a:solidFill>
              <a:schemeClr val="tx1"/>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51" name="Graphic 79" descr="Checkmark with solid fill">
            <a:extLst>
              <a:ext uri="{FF2B5EF4-FFF2-40B4-BE49-F238E27FC236}">
                <a16:creationId xmlns:a16="http://schemas.microsoft.com/office/drawing/2014/main" id="{49143CEB-F16A-44BB-B0C6-92A0993A24E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4248" y="4537295"/>
            <a:ext cx="294178" cy="294178"/>
          </a:xfrm>
          <a:prstGeom prst="rect">
            <a:avLst/>
          </a:prstGeom>
        </p:spPr>
      </p:pic>
      <p:sp>
        <p:nvSpPr>
          <p:cNvPr id="52" name="TextBox 72">
            <a:extLst>
              <a:ext uri="{FF2B5EF4-FFF2-40B4-BE49-F238E27FC236}">
                <a16:creationId xmlns:a16="http://schemas.microsoft.com/office/drawing/2014/main" id="{6293783E-7A82-4BAE-AD97-44FC2621476A}"/>
              </a:ext>
            </a:extLst>
          </p:cNvPr>
          <p:cNvSpPr txBox="1"/>
          <p:nvPr/>
        </p:nvSpPr>
        <p:spPr>
          <a:xfrm flipH="1">
            <a:off x="2771544" y="4374810"/>
            <a:ext cx="2400276" cy="50783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350" b="1" noProof="1">
                <a:solidFill>
                  <a:schemeClr val="bg1"/>
                </a:solidFill>
                <a:latin typeface="+mj-lt"/>
              </a:rPr>
              <a:t>Guider les épuipes sur la construction du rapport</a:t>
            </a:r>
            <a:endParaRPr lang="en-US" sz="1350" b="1" noProof="1">
              <a:solidFill>
                <a:schemeClr val="tx1">
                  <a:lumMod val="75000"/>
                  <a:lumOff val="25000"/>
                </a:schemeClr>
              </a:solidFill>
            </a:endParaRPr>
          </a:p>
        </p:txBody>
      </p:sp>
      <p:sp>
        <p:nvSpPr>
          <p:cNvPr id="53" name="Shape">
            <a:extLst>
              <a:ext uri="{FF2B5EF4-FFF2-40B4-BE49-F238E27FC236}">
                <a16:creationId xmlns:a16="http://schemas.microsoft.com/office/drawing/2014/main" id="{0650CF01-B860-4B32-B0A1-73A0F6445C44}"/>
              </a:ext>
            </a:extLst>
          </p:cNvPr>
          <p:cNvSpPr/>
          <p:nvPr/>
        </p:nvSpPr>
        <p:spPr>
          <a:xfrm>
            <a:off x="6390189" y="3826760"/>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54" name="Graphic 65" descr="Close with solid fill">
            <a:extLst>
              <a:ext uri="{FF2B5EF4-FFF2-40B4-BE49-F238E27FC236}">
                <a16:creationId xmlns:a16="http://schemas.microsoft.com/office/drawing/2014/main" id="{3659036D-6176-48E9-849E-91C0C3CB475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3926677"/>
            <a:ext cx="294178" cy="294178"/>
          </a:xfrm>
          <a:prstGeom prst="rect">
            <a:avLst/>
          </a:prstGeom>
        </p:spPr>
      </p:pic>
      <p:sp>
        <p:nvSpPr>
          <p:cNvPr id="55" name="Shape">
            <a:extLst>
              <a:ext uri="{FF2B5EF4-FFF2-40B4-BE49-F238E27FC236}">
                <a16:creationId xmlns:a16="http://schemas.microsoft.com/office/drawing/2014/main" id="{8E16398C-807A-4E2A-A92E-ECA84C855CC8}"/>
              </a:ext>
            </a:extLst>
          </p:cNvPr>
          <p:cNvSpPr/>
          <p:nvPr/>
        </p:nvSpPr>
        <p:spPr>
          <a:xfrm>
            <a:off x="6390189" y="4435584"/>
            <a:ext cx="535487" cy="494010"/>
          </a:xfrm>
          <a:custGeom>
            <a:avLst/>
            <a:gdLst/>
            <a:ahLst/>
            <a:cxnLst>
              <a:cxn ang="0">
                <a:pos x="wd2" y="hd2"/>
              </a:cxn>
              <a:cxn ang="5400000">
                <a:pos x="wd2" y="hd2"/>
              </a:cxn>
              <a:cxn ang="10800000">
                <a:pos x="wd2" y="hd2"/>
              </a:cxn>
              <a:cxn ang="16200000">
                <a:pos x="wd2" y="hd2"/>
              </a:cxn>
            </a:cxnLst>
            <a:rect l="0" t="0" r="r" b="b"/>
            <a:pathLst>
              <a:path w="21208" h="21600" extrusionOk="0">
                <a:moveTo>
                  <a:pt x="13671" y="21600"/>
                </a:moveTo>
                <a:lnTo>
                  <a:pt x="7537" y="21600"/>
                </a:lnTo>
                <a:cubicBezTo>
                  <a:pt x="5938" y="21600"/>
                  <a:pt x="4484" y="20669"/>
                  <a:pt x="3670" y="19129"/>
                </a:cubicBezTo>
                <a:lnTo>
                  <a:pt x="589" y="13255"/>
                </a:lnTo>
                <a:cubicBezTo>
                  <a:pt x="-196" y="11747"/>
                  <a:pt x="-196" y="9853"/>
                  <a:pt x="589" y="8345"/>
                </a:cubicBezTo>
                <a:lnTo>
                  <a:pt x="3670" y="2471"/>
                </a:lnTo>
                <a:cubicBezTo>
                  <a:pt x="4455" y="963"/>
                  <a:pt x="5938" y="0"/>
                  <a:pt x="7537" y="0"/>
                </a:cubicBezTo>
                <a:lnTo>
                  <a:pt x="13671" y="0"/>
                </a:lnTo>
                <a:cubicBezTo>
                  <a:pt x="15270" y="0"/>
                  <a:pt x="16724" y="931"/>
                  <a:pt x="17538" y="2471"/>
                </a:cubicBezTo>
                <a:lnTo>
                  <a:pt x="20619" y="8345"/>
                </a:lnTo>
                <a:cubicBezTo>
                  <a:pt x="21404" y="9853"/>
                  <a:pt x="21404" y="11747"/>
                  <a:pt x="20619" y="13255"/>
                </a:cubicBezTo>
                <a:lnTo>
                  <a:pt x="17538" y="19129"/>
                </a:lnTo>
                <a:cubicBezTo>
                  <a:pt x="16724" y="20669"/>
                  <a:pt x="15270" y="21600"/>
                  <a:pt x="13671" y="21600"/>
                </a:cubicBezTo>
                <a:close/>
                <a:moveTo>
                  <a:pt x="7537" y="1637"/>
                </a:moveTo>
                <a:cubicBezTo>
                  <a:pt x="6461" y="1637"/>
                  <a:pt x="5473" y="2279"/>
                  <a:pt x="4950" y="3306"/>
                </a:cubicBezTo>
                <a:lnTo>
                  <a:pt x="1868" y="9179"/>
                </a:lnTo>
                <a:cubicBezTo>
                  <a:pt x="1345" y="10206"/>
                  <a:pt x="1345" y="11458"/>
                  <a:pt x="1868" y="12485"/>
                </a:cubicBezTo>
                <a:lnTo>
                  <a:pt x="4950" y="18358"/>
                </a:lnTo>
                <a:cubicBezTo>
                  <a:pt x="5473" y="19385"/>
                  <a:pt x="6490" y="20027"/>
                  <a:pt x="7537" y="20027"/>
                </a:cubicBezTo>
                <a:lnTo>
                  <a:pt x="13671" y="20027"/>
                </a:lnTo>
                <a:cubicBezTo>
                  <a:pt x="14747" y="20027"/>
                  <a:pt x="15735" y="19385"/>
                  <a:pt x="16258" y="18358"/>
                </a:cubicBezTo>
                <a:lnTo>
                  <a:pt x="19340" y="12485"/>
                </a:lnTo>
                <a:cubicBezTo>
                  <a:pt x="19863" y="11458"/>
                  <a:pt x="19863" y="10206"/>
                  <a:pt x="19340" y="9179"/>
                </a:cubicBezTo>
                <a:lnTo>
                  <a:pt x="16258" y="3306"/>
                </a:lnTo>
                <a:cubicBezTo>
                  <a:pt x="15735" y="2279"/>
                  <a:pt x="14718" y="1637"/>
                  <a:pt x="13671" y="1637"/>
                </a:cubicBezTo>
                <a:lnTo>
                  <a:pt x="7537" y="1637"/>
                </a:lnTo>
                <a:close/>
              </a:path>
            </a:pathLst>
          </a:custGeom>
          <a:solidFill>
            <a:srgbClr val="E61853"/>
          </a:solidFill>
          <a:ln w="12700">
            <a:solidFill>
              <a:srgbClr val="9C1038"/>
            </a:solidFill>
            <a:miter lim="400000"/>
          </a:ln>
        </p:spPr>
        <p:txBody>
          <a:bodyPr lIns="21431" tIns="21431" rIns="21431" bIns="2143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1688"/>
          </a:p>
        </p:txBody>
      </p:sp>
      <p:pic>
        <p:nvPicPr>
          <p:cNvPr id="56" name="Graphic 65" descr="Close with solid fill">
            <a:extLst>
              <a:ext uri="{FF2B5EF4-FFF2-40B4-BE49-F238E27FC236}">
                <a16:creationId xmlns:a16="http://schemas.microsoft.com/office/drawing/2014/main" id="{F3E17D63-AA0D-4094-9518-008F8F76D63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0845" y="4535501"/>
            <a:ext cx="294178" cy="294178"/>
          </a:xfrm>
          <a:prstGeom prst="rect">
            <a:avLst/>
          </a:prstGeom>
        </p:spPr>
      </p:pic>
      <p:sp>
        <p:nvSpPr>
          <p:cNvPr id="57" name="TextBox 67">
            <a:extLst>
              <a:ext uri="{FF2B5EF4-FFF2-40B4-BE49-F238E27FC236}">
                <a16:creationId xmlns:a16="http://schemas.microsoft.com/office/drawing/2014/main" id="{CD734F95-AE90-4FC0-9494-85395253B142}"/>
              </a:ext>
            </a:extLst>
          </p:cNvPr>
          <p:cNvSpPr txBox="1"/>
          <p:nvPr/>
        </p:nvSpPr>
        <p:spPr>
          <a:xfrm>
            <a:off x="7020153" y="3905339"/>
            <a:ext cx="2400300" cy="30008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50" b="1" dirty="0">
                <a:solidFill>
                  <a:schemeClr val="bg1"/>
                </a:solidFill>
                <a:latin typeface="+mj-lt"/>
              </a:rPr>
              <a:t>N/A</a:t>
            </a:r>
            <a:endParaRPr lang="en-US" sz="1350" b="1" noProof="1">
              <a:solidFill>
                <a:schemeClr val="bg1"/>
              </a:solidFill>
              <a:latin typeface="+mj-lt"/>
            </a:endParaRPr>
          </a:p>
        </p:txBody>
      </p:sp>
      <p:sp>
        <p:nvSpPr>
          <p:cNvPr id="58" name="TextBox 67">
            <a:extLst>
              <a:ext uri="{FF2B5EF4-FFF2-40B4-BE49-F238E27FC236}">
                <a16:creationId xmlns:a16="http://schemas.microsoft.com/office/drawing/2014/main" id="{B696A4BB-2A04-4B40-9119-2523FDF98244}"/>
              </a:ext>
            </a:extLst>
          </p:cNvPr>
          <p:cNvSpPr txBox="1"/>
          <p:nvPr/>
        </p:nvSpPr>
        <p:spPr>
          <a:xfrm>
            <a:off x="7020153" y="4523336"/>
            <a:ext cx="2400300" cy="300082"/>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50" b="1" dirty="0">
                <a:solidFill>
                  <a:schemeClr val="bg1"/>
                </a:solidFill>
                <a:latin typeface="+mj-lt"/>
              </a:rPr>
              <a:t>N/A</a:t>
            </a:r>
            <a:endParaRPr lang="en-US" sz="1350" b="1" noProof="1">
              <a:solidFill>
                <a:schemeClr val="bg1"/>
              </a:solidFill>
              <a:latin typeface="+mj-lt"/>
            </a:endParaRPr>
          </a:p>
        </p:txBody>
      </p:sp>
      <p:pic>
        <p:nvPicPr>
          <p:cNvPr id="3" name="Graphique 2" descr="Avertissement avec un remplissage uni">
            <a:extLst>
              <a:ext uri="{FF2B5EF4-FFF2-40B4-BE49-F238E27FC236}">
                <a16:creationId xmlns:a16="http://schemas.microsoft.com/office/drawing/2014/main" id="{53D139F2-D4F5-4B94-AB7F-CC46D209DCD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0080" y="5524100"/>
            <a:ext cx="540000" cy="540000"/>
          </a:xfrm>
          <a:prstGeom prst="rect">
            <a:avLst/>
          </a:prstGeom>
        </p:spPr>
      </p:pic>
      <p:sp>
        <p:nvSpPr>
          <p:cNvPr id="10" name="ZoneTexte 9">
            <a:extLst>
              <a:ext uri="{FF2B5EF4-FFF2-40B4-BE49-F238E27FC236}">
                <a16:creationId xmlns:a16="http://schemas.microsoft.com/office/drawing/2014/main" id="{06FB123C-F17C-4B28-AC22-94C1A2A12BB8}"/>
              </a:ext>
            </a:extLst>
          </p:cNvPr>
          <p:cNvSpPr txBox="1"/>
          <p:nvPr/>
        </p:nvSpPr>
        <p:spPr>
          <a:xfrm>
            <a:off x="1248827" y="5694768"/>
            <a:ext cx="9080499" cy="369332"/>
          </a:xfrm>
          <a:prstGeom prst="rect">
            <a:avLst/>
          </a:prstGeom>
          <a:noFill/>
        </p:spPr>
        <p:txBody>
          <a:bodyPr wrap="none" rtlCol="0">
            <a:spAutoFit/>
          </a:bodyPr>
          <a:lstStyle/>
          <a:p>
            <a:r>
              <a:rPr lang="fr-FR" dirty="0"/>
              <a:t>Vous devrez vérifier que les algorithmes tournent bien avant de fournir le </a:t>
            </a:r>
            <a:r>
              <a:rPr lang="fr-FR" dirty="0" err="1"/>
              <a:t>dataset</a:t>
            </a:r>
            <a:r>
              <a:rPr lang="fr-FR" dirty="0"/>
              <a:t> test.</a:t>
            </a:r>
          </a:p>
        </p:txBody>
      </p:sp>
    </p:spTree>
    <p:extLst>
      <p:ext uri="{BB962C8B-B14F-4D97-AF65-F5344CB8AC3E}">
        <p14:creationId xmlns:p14="http://schemas.microsoft.com/office/powerpoint/2010/main" val="1281981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0"/>
            <a:ext cx="12192000" cy="6858000"/>
            <a:chOff x="0" y="0"/>
            <a:chExt cx="12192000" cy="6858000"/>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algn="ctr" defTabSz="914400" rtl="0" eaLnBrk="1" fontAlgn="auto" latinLnBrk="0" hangingPunct="1">
                <a:lnSpc>
                  <a:spcPct val="100000"/>
                </a:lnSpc>
                <a:spcBef>
                  <a:spcPts val="1600"/>
                </a:spcBef>
                <a:spcAft>
                  <a:spcPts val="0"/>
                </a:spcAft>
                <a:buClr>
                  <a:srgbClr val="FF004D"/>
                </a:buClr>
                <a:buSzPct val="150000"/>
                <a:buNone/>
                <a:tabLst/>
                <a:defRPr/>
              </a:pPr>
              <a:r>
                <a:rPr lang="en-US" sz="2400" spc="250" dirty="0">
                  <a:solidFill>
                    <a:schemeClr val="bg1"/>
                  </a:solidFill>
                  <a:latin typeface="Nunito"/>
                  <a:ea typeface="Verdana"/>
                </a:rPr>
                <a:t>MERCI.</a:t>
              </a: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endParaRPr lang="en-US" sz="1400" spc="250" dirty="0">
                <a:solidFill>
                  <a:schemeClr val="bg1"/>
                </a:solidFill>
                <a:latin typeface="Nunito"/>
                <a:ea typeface="Verdana"/>
              </a:endParaRPr>
            </a:p>
            <a:p>
              <a:pPr marL="168910" marR="0" lvl="0" indent="0" defTabSz="914400" rtl="0" eaLnBrk="1" fontAlgn="auto" latinLnBrk="0" hangingPunct="1">
                <a:lnSpc>
                  <a:spcPct val="100000"/>
                </a:lnSpc>
                <a:spcBef>
                  <a:spcPts val="1600"/>
                </a:spcBef>
                <a:spcAft>
                  <a:spcPts val="0"/>
                </a:spcAft>
                <a:buClr>
                  <a:srgbClr val="FF004D"/>
                </a:buClr>
                <a:buSzPct val="150000"/>
                <a:buNone/>
                <a:tabLst/>
                <a:defRPr/>
              </a:pPr>
              <a:r>
                <a:rPr lang="en-US" sz="1400" spc="250" dirty="0">
                  <a:solidFill>
                    <a:schemeClr val="bg1"/>
                  </a:solidFill>
                  <a:latin typeface="Nunito"/>
                  <a:ea typeface="Verdana"/>
                </a:rPr>
                <a:t>Doodle pour </a:t>
              </a:r>
              <a:r>
                <a:rPr lang="en-US" sz="1400" spc="250" dirty="0" err="1">
                  <a:solidFill>
                    <a:schemeClr val="bg1"/>
                  </a:solidFill>
                  <a:latin typeface="Nunito"/>
                  <a:ea typeface="Verdana"/>
                </a:rPr>
                <a:t>cocher</a:t>
              </a:r>
              <a:r>
                <a:rPr lang="en-US" sz="1400" spc="250" dirty="0">
                  <a:solidFill>
                    <a:schemeClr val="bg1"/>
                  </a:solidFill>
                  <a:latin typeface="Nunito"/>
                  <a:ea typeface="Verdana"/>
                </a:rPr>
                <a:t> </a:t>
              </a:r>
              <a:r>
                <a:rPr lang="en-US" sz="1400" spc="250" dirty="0" err="1">
                  <a:solidFill>
                    <a:schemeClr val="bg1"/>
                  </a:solidFill>
                  <a:latin typeface="Nunito"/>
                  <a:ea typeface="Verdana"/>
                </a:rPr>
                <a:t>vos</a:t>
              </a:r>
              <a:r>
                <a:rPr lang="en-US" sz="1400" spc="250" dirty="0">
                  <a:solidFill>
                    <a:schemeClr val="bg1"/>
                  </a:solidFill>
                  <a:latin typeface="Nunito"/>
                  <a:ea typeface="Verdana"/>
                </a:rPr>
                <a:t> </a:t>
              </a:r>
              <a:r>
                <a:rPr lang="en-US" sz="1400" spc="250" dirty="0" err="1">
                  <a:solidFill>
                    <a:schemeClr val="bg1"/>
                  </a:solidFill>
                  <a:latin typeface="Nunito"/>
                  <a:ea typeface="Verdana"/>
                </a:rPr>
                <a:t>disponibilités</a:t>
              </a:r>
              <a:r>
                <a:rPr lang="en-US" sz="1400" spc="250" dirty="0">
                  <a:solidFill>
                    <a:schemeClr val="bg1"/>
                  </a:solidFill>
                  <a:latin typeface="Nunito"/>
                  <a:ea typeface="Verdana"/>
                </a:rPr>
                <a:t> : </a:t>
              </a:r>
              <a:r>
                <a:rPr lang="en-US" sz="1400" spc="250" dirty="0">
                  <a:solidFill>
                    <a:schemeClr val="bg1"/>
                  </a:solidFill>
                  <a:latin typeface="Nunito"/>
                  <a:ea typeface="Verdana"/>
                  <a:hlinkClick r:id="rId4">
                    <a:extLst>
                      <a:ext uri="{A12FA001-AC4F-418D-AE19-62706E023703}">
                        <ahyp:hlinkClr xmlns:ahyp="http://schemas.microsoft.com/office/drawing/2018/hyperlinkcolor" val="tx"/>
                      </a:ext>
                    </a:extLst>
                  </a:hlinkClick>
                </a:rPr>
                <a:t>lien</a:t>
              </a:r>
              <a:br>
                <a:rPr lang="en-US" sz="1400" kern="0" spc="250" dirty="0">
                  <a:solidFill>
                    <a:schemeClr val="bg1"/>
                  </a:solidFill>
                  <a:latin typeface="Nunito" pitchFamily="2" charset="0"/>
                  <a:ea typeface="Verdana" panose="020B0604030504040204" pitchFamily="34" charset="0"/>
                </a:rPr>
              </a:br>
              <a:r>
                <a:rPr lang="en-US" sz="1400" kern="0" spc="250" dirty="0">
                  <a:solidFill>
                    <a:schemeClr val="bg1"/>
                  </a:solidFill>
                  <a:latin typeface="Nunito" pitchFamily="2" charset="0"/>
                  <a:ea typeface="Verdana" panose="020B0604030504040204" pitchFamily="34" charset="0"/>
                </a:rPr>
                <a:t>Discord du </a:t>
              </a:r>
              <a:r>
                <a:rPr lang="en-US" sz="1400" kern="0" spc="250" dirty="0" err="1">
                  <a:solidFill>
                    <a:schemeClr val="bg1"/>
                  </a:solidFill>
                  <a:latin typeface="Nunito" pitchFamily="2" charset="0"/>
                  <a:ea typeface="Verdana" panose="020B0604030504040204" pitchFamily="34" charset="0"/>
                </a:rPr>
                <a:t>Hi!ckathon</a:t>
              </a:r>
              <a:r>
                <a:rPr lang="en-US" sz="1400" kern="0" spc="250" dirty="0">
                  <a:solidFill>
                    <a:schemeClr val="bg1"/>
                  </a:solidFill>
                  <a:latin typeface="Nunito" pitchFamily="2" charset="0"/>
                  <a:ea typeface="Verdana" panose="020B0604030504040204" pitchFamily="34" charset="0"/>
                </a:rPr>
                <a:t> : </a:t>
              </a:r>
              <a:r>
                <a:rPr lang="en-US" sz="1400" kern="0" spc="250" dirty="0">
                  <a:solidFill>
                    <a:schemeClr val="bg1"/>
                  </a:solidFill>
                  <a:latin typeface="Nunito" pitchFamily="2" charset="0"/>
                  <a:ea typeface="Verdana" panose="020B0604030504040204" pitchFamily="34" charset="0"/>
                  <a:hlinkClick r:id="rId5">
                    <a:extLst>
                      <a:ext uri="{A12FA001-AC4F-418D-AE19-62706E023703}">
                        <ahyp:hlinkClr xmlns:ahyp="http://schemas.microsoft.com/office/drawing/2018/hyperlinkcolor" val="tx"/>
                      </a:ext>
                    </a:extLst>
                  </a:hlinkClick>
                </a:rPr>
                <a:t>lien</a:t>
              </a:r>
              <a:br>
                <a:rPr lang="en-US" sz="1400" kern="0" spc="250" dirty="0">
                  <a:solidFill>
                    <a:schemeClr val="bg1"/>
                  </a:solidFill>
                  <a:latin typeface="Nunito" pitchFamily="2" charset="0"/>
                  <a:ea typeface="Verdana" panose="020B0604030504040204" pitchFamily="34" charset="0"/>
                </a:rPr>
              </a:br>
              <a:r>
                <a:rPr lang="en-US" sz="1400" kern="0" spc="250" dirty="0">
                  <a:solidFill>
                    <a:schemeClr val="bg1"/>
                  </a:solidFill>
                  <a:latin typeface="Nunito"/>
                  <a:ea typeface="Verdana"/>
                </a:rPr>
                <a:t>Site du </a:t>
              </a:r>
              <a:r>
                <a:rPr lang="en-US" sz="1400" kern="0" spc="250" dirty="0" err="1">
                  <a:solidFill>
                    <a:schemeClr val="bg1"/>
                  </a:solidFill>
                  <a:latin typeface="Nunito"/>
                  <a:ea typeface="Verdana"/>
                </a:rPr>
                <a:t>Hi!ckathon</a:t>
              </a:r>
              <a:r>
                <a:rPr lang="en-US" sz="1400" kern="0" spc="250" dirty="0">
                  <a:solidFill>
                    <a:schemeClr val="bg1"/>
                  </a:solidFill>
                  <a:latin typeface="Nunito"/>
                  <a:ea typeface="Verdana"/>
                </a:rPr>
                <a:t> : </a:t>
              </a:r>
              <a:r>
                <a:rPr lang="en-US" sz="1400" kern="0" spc="250" dirty="0">
                  <a:solidFill>
                    <a:schemeClr val="bg1"/>
                  </a:solidFill>
                  <a:latin typeface="Nunito"/>
                  <a:ea typeface="Verdana"/>
                  <a:hlinkClick r:id="rId6">
                    <a:extLst>
                      <a:ext uri="{A12FA001-AC4F-418D-AE19-62706E023703}">
                        <ahyp:hlinkClr xmlns:ahyp="http://schemas.microsoft.com/office/drawing/2018/hyperlinkcolor" val="tx"/>
                      </a:ext>
                    </a:extLst>
                  </a:hlinkClick>
                </a:rPr>
                <a:t>lien</a:t>
              </a:r>
              <a:endParaRPr lang="en-US" sz="1400" kern="0" spc="250" dirty="0">
                <a:solidFill>
                  <a:schemeClr val="bg1"/>
                </a:solidFill>
                <a:latin typeface="Nunito" pitchFamily="2" charset="0"/>
                <a:ea typeface="Verdana" panose="020B0604030504040204" pitchFamily="34" charset="0"/>
              </a:endParaRPr>
            </a:p>
          </p:txBody>
        </p:sp>
      </p:grpSp>
    </p:spTree>
    <p:extLst>
      <p:ext uri="{BB962C8B-B14F-4D97-AF65-F5344CB8AC3E}">
        <p14:creationId xmlns:p14="http://schemas.microsoft.com/office/powerpoint/2010/main" val="1995903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err="1">
                <a:latin typeface="+mn-lt"/>
                <a:cs typeface="Arial" panose="020B0604020202020204" pitchFamily="34" charset="0"/>
              </a:rPr>
              <a:t>Qu’est-ce</a:t>
            </a:r>
            <a:r>
              <a:rPr lang="en-US" sz="2400" dirty="0">
                <a:latin typeface="+mn-lt"/>
                <a:cs typeface="Arial" panose="020B0604020202020204" pitchFamily="34" charset="0"/>
              </a:rPr>
              <a:t> que Hi! PARIS?</a:t>
            </a:r>
          </a:p>
        </p:txBody>
      </p:sp>
      <p:sp>
        <p:nvSpPr>
          <p:cNvPr id="9" name="Titre 1">
            <a:extLst>
              <a:ext uri="{FF2B5EF4-FFF2-40B4-BE49-F238E27FC236}">
                <a16:creationId xmlns:a16="http://schemas.microsoft.com/office/drawing/2014/main" id="{ECB0D2C8-3960-49B3-B667-D565B8722A21}"/>
              </a:ext>
            </a:extLst>
          </p:cNvPr>
          <p:cNvSpPr txBox="1"/>
          <p:nvPr/>
        </p:nvSpPr>
        <p:spPr>
          <a:xfrm>
            <a:off x="945402" y="2834545"/>
            <a:ext cx="6591012" cy="675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9" rIns="45718" bIns="45719" anchor="ctr">
            <a:normAutofit/>
          </a:bodyPr>
          <a:lstStyle/>
          <a:p>
            <a:pPr defTabSz="457178">
              <a:defRPr sz="1800">
                <a:solidFill>
                  <a:srgbClr val="003A70"/>
                </a:solidFill>
                <a:latin typeface="DIN-Regular"/>
                <a:ea typeface="DIN-Regular"/>
                <a:cs typeface="DIN-Regular"/>
                <a:sym typeface="DIN-Regular"/>
              </a:defRPr>
            </a:pPr>
            <a:endParaRPr lang="en-US" b="1">
              <a:latin typeface="Arial"/>
              <a:ea typeface="Arial"/>
              <a:cs typeface="Arial"/>
              <a:sym typeface="DIN-Regular"/>
            </a:endParaRPr>
          </a:p>
        </p:txBody>
      </p:sp>
      <p:sp>
        <p:nvSpPr>
          <p:cNvPr id="14" name="Rectangle 13">
            <a:extLst>
              <a:ext uri="{FF2B5EF4-FFF2-40B4-BE49-F238E27FC236}">
                <a16:creationId xmlns:a16="http://schemas.microsoft.com/office/drawing/2014/main" id="{4C420B6D-E27F-4B66-86D9-4F0FF66D9FA6}"/>
              </a:ext>
            </a:extLst>
          </p:cNvPr>
          <p:cNvSpPr/>
          <p:nvPr/>
        </p:nvSpPr>
        <p:spPr>
          <a:xfrm>
            <a:off x="546533" y="1277634"/>
            <a:ext cx="11098933" cy="892550"/>
          </a:xfrm>
          <a:prstGeom prst="rect">
            <a:avLst/>
          </a:prstGeom>
        </p:spPr>
        <p:txBody>
          <a:bodyPr wrap="square" lIns="91438" tIns="45719" rIns="91438" bIns="45719">
            <a:spAutoFit/>
          </a:bodyPr>
          <a:lstStyle/>
          <a:p>
            <a:pPr algn="ctr" fontAlgn="base"/>
            <a:r>
              <a:rPr lang="fr-FR" sz="2600" b="1" dirty="0">
                <a:solidFill>
                  <a:srgbClr val="FF004D"/>
                </a:solidFill>
                <a:cs typeface="Arial"/>
              </a:rPr>
              <a:t>Hi! PARIS </a:t>
            </a:r>
            <a:r>
              <a:rPr lang="fr-FR" sz="2600" b="1" dirty="0">
                <a:solidFill>
                  <a:schemeClr val="tx1">
                    <a:lumMod val="85000"/>
                    <a:lumOff val="15000"/>
                  </a:schemeClr>
                </a:solidFill>
              </a:rPr>
              <a:t>est un centre multidisciplinaire d’IA et d’analyse de données pour la Science, Technologie, Business et la Société.</a:t>
            </a:r>
            <a:endParaRPr lang="fr-FR" sz="2600" dirty="0"/>
          </a:p>
        </p:txBody>
      </p:sp>
      <p:sp>
        <p:nvSpPr>
          <p:cNvPr id="16" name="Titre 1">
            <a:extLst>
              <a:ext uri="{FF2B5EF4-FFF2-40B4-BE49-F238E27FC236}">
                <a16:creationId xmlns:a16="http://schemas.microsoft.com/office/drawing/2014/main" id="{333249C2-107C-42D1-9E6A-8391480B2539}"/>
              </a:ext>
            </a:extLst>
          </p:cNvPr>
          <p:cNvSpPr txBox="1"/>
          <p:nvPr/>
        </p:nvSpPr>
        <p:spPr>
          <a:xfrm>
            <a:off x="8166972" y="3724481"/>
            <a:ext cx="631828" cy="5539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56" tIns="60957" rIns="60956" bIns="60957" anchor="ctr">
            <a:spAutoFit/>
          </a:bodyPr>
          <a:lstStyle>
            <a:lvl1pPr algn="ctr" defTabSz="457200">
              <a:defRPr sz="2800">
                <a:solidFill>
                  <a:srgbClr val="003A70"/>
                </a:solidFill>
                <a:latin typeface="DIN-Regular"/>
                <a:ea typeface="DIN-Regular"/>
                <a:cs typeface="DIN-Regular"/>
                <a:sym typeface="DIN-Regular"/>
              </a:defRPr>
            </a:lvl1pPr>
          </a:lstStyle>
          <a:p>
            <a:pPr defTabSz="609570">
              <a:buClr>
                <a:srgbClr val="000000"/>
              </a:buClr>
              <a:defRPr/>
            </a:pPr>
            <a:r>
              <a:rPr kern="0">
                <a:latin typeface="Arial" panose="020B0604020202020204" pitchFamily="34" charset="0"/>
                <a:cs typeface="Arial" panose="020B0604020202020204" pitchFamily="34" charset="0"/>
              </a:rPr>
              <a:t>&amp;</a:t>
            </a:r>
          </a:p>
        </p:txBody>
      </p:sp>
      <p:pic>
        <p:nvPicPr>
          <p:cNvPr id="17" name="Image 2" descr="Image 2">
            <a:extLst>
              <a:ext uri="{FF2B5EF4-FFF2-40B4-BE49-F238E27FC236}">
                <a16:creationId xmlns:a16="http://schemas.microsoft.com/office/drawing/2014/main" id="{E26BF0C9-2FBE-4DD8-A565-DDC653742C3B}"/>
              </a:ext>
            </a:extLst>
          </p:cNvPr>
          <p:cNvPicPr>
            <a:picLocks noChangeAspect="1"/>
          </p:cNvPicPr>
          <p:nvPr/>
        </p:nvPicPr>
        <p:blipFill>
          <a:blip r:embed="rId3" cstate="hqprint">
            <a:extLst>
              <a:ext uri="{28A0092B-C50C-407E-A947-70E740481C1C}">
                <a14:useLocalDpi xmlns:a14="http://schemas.microsoft.com/office/drawing/2010/main"/>
              </a:ext>
            </a:extLst>
          </a:blip>
          <a:srcRect/>
          <a:stretch>
            <a:fillRect/>
          </a:stretch>
        </p:blipFill>
        <p:spPr>
          <a:xfrm>
            <a:off x="8798800" y="3551235"/>
            <a:ext cx="1738065" cy="894365"/>
          </a:xfrm>
          <a:prstGeom prst="rect">
            <a:avLst/>
          </a:prstGeom>
          <a:ln w="12700">
            <a:miter lim="400000"/>
          </a:ln>
        </p:spPr>
      </p:pic>
      <p:pic>
        <p:nvPicPr>
          <p:cNvPr id="18" name="Image 16">
            <a:extLst>
              <a:ext uri="{FF2B5EF4-FFF2-40B4-BE49-F238E27FC236}">
                <a16:creationId xmlns:a16="http://schemas.microsoft.com/office/drawing/2014/main" id="{C3CCBA26-9136-4D34-8CA8-8FC0C7367A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7976" y="3577136"/>
            <a:ext cx="7152000" cy="842565"/>
          </a:xfrm>
          <a:prstGeom prst="rect">
            <a:avLst/>
          </a:prstGeom>
        </p:spPr>
      </p:pic>
      <p:sp>
        <p:nvSpPr>
          <p:cNvPr id="19" name="Rectangle 18">
            <a:extLst>
              <a:ext uri="{FF2B5EF4-FFF2-40B4-BE49-F238E27FC236}">
                <a16:creationId xmlns:a16="http://schemas.microsoft.com/office/drawing/2014/main" id="{8D4067B0-97C7-4124-BB62-904984B2F76D}"/>
              </a:ext>
            </a:extLst>
          </p:cNvPr>
          <p:cNvSpPr/>
          <p:nvPr/>
        </p:nvSpPr>
        <p:spPr>
          <a:xfrm>
            <a:off x="787981" y="3121183"/>
            <a:ext cx="11098933" cy="369330"/>
          </a:xfrm>
          <a:prstGeom prst="rect">
            <a:avLst/>
          </a:prstGeom>
        </p:spPr>
        <p:txBody>
          <a:bodyPr wrap="square" lIns="91438" tIns="45719" rIns="91438" bIns="45719">
            <a:spAutoFit/>
          </a:bodyPr>
          <a:lstStyle/>
          <a:p>
            <a:pPr fontAlgn="base"/>
            <a:r>
              <a:rPr lang="fr-FR" dirty="0">
                <a:solidFill>
                  <a:schemeClr val="tx1">
                    <a:lumMod val="85000"/>
                    <a:lumOff val="15000"/>
                  </a:schemeClr>
                </a:solidFill>
              </a:rPr>
              <a:t>Créé en septembre 2020 par des institutions de premier plan :</a:t>
            </a:r>
            <a:endParaRPr lang="fr-FR" sz="1000" dirty="0"/>
          </a:p>
        </p:txBody>
      </p:sp>
      <p:grpSp>
        <p:nvGrpSpPr>
          <p:cNvPr id="2" name="Group 1">
            <a:extLst>
              <a:ext uri="{FF2B5EF4-FFF2-40B4-BE49-F238E27FC236}">
                <a16:creationId xmlns:a16="http://schemas.microsoft.com/office/drawing/2014/main" id="{2080C867-CA16-4CF3-858D-A53E643C2239}"/>
              </a:ext>
            </a:extLst>
          </p:cNvPr>
          <p:cNvGrpSpPr/>
          <p:nvPr/>
        </p:nvGrpSpPr>
        <p:grpSpPr>
          <a:xfrm>
            <a:off x="1053798" y="5303114"/>
            <a:ext cx="9814566" cy="827379"/>
            <a:chOff x="1053798" y="5303114"/>
            <a:chExt cx="9814566" cy="827379"/>
          </a:xfrm>
        </p:grpSpPr>
        <p:pic>
          <p:nvPicPr>
            <p:cNvPr id="15" name="Image 13">
              <a:extLst>
                <a:ext uri="{FF2B5EF4-FFF2-40B4-BE49-F238E27FC236}">
                  <a16:creationId xmlns:a16="http://schemas.microsoft.com/office/drawing/2014/main" id="{0B87BF20-C81E-4A44-BC37-FD21E1140A16}"/>
                </a:ext>
              </a:extLst>
            </p:cNvPr>
            <p:cNvPicPr>
              <a:picLocks noChangeAspect="1"/>
            </p:cNvPicPr>
            <p:nvPr/>
          </p:nvPicPr>
          <p:blipFill rotWithShape="1">
            <a:blip r:embed="rId5"/>
            <a:srcRect b="15207"/>
            <a:stretch/>
          </p:blipFill>
          <p:spPr>
            <a:xfrm>
              <a:off x="1053798" y="5303114"/>
              <a:ext cx="9814566" cy="827379"/>
            </a:xfrm>
            <a:prstGeom prst="rect">
              <a:avLst/>
            </a:prstGeom>
          </p:spPr>
        </p:pic>
        <p:pic>
          <p:nvPicPr>
            <p:cNvPr id="21" name="Picture 20">
              <a:extLst>
                <a:ext uri="{FF2B5EF4-FFF2-40B4-BE49-F238E27FC236}">
                  <a16:creationId xmlns:a16="http://schemas.microsoft.com/office/drawing/2014/main" id="{E4B95FBE-39BE-44EF-830B-68A8343A558C}"/>
                </a:ext>
              </a:extLst>
            </p:cNvPr>
            <p:cNvPicPr>
              <a:picLocks noChangeAspect="1"/>
            </p:cNvPicPr>
            <p:nvPr/>
          </p:nvPicPr>
          <p:blipFill rotWithShape="1">
            <a:blip r:embed="rId6"/>
            <a:srcRect l="41684" t="19016" r="41266" b="46369"/>
            <a:stretch/>
          </p:blipFill>
          <p:spPr>
            <a:xfrm>
              <a:off x="5151565" y="5382228"/>
              <a:ext cx="1888870" cy="494806"/>
            </a:xfrm>
            <a:prstGeom prst="rect">
              <a:avLst/>
            </a:prstGeom>
          </p:spPr>
        </p:pic>
      </p:grpSp>
      <p:sp>
        <p:nvSpPr>
          <p:cNvPr id="20" name="Rectangle 19">
            <a:extLst>
              <a:ext uri="{FF2B5EF4-FFF2-40B4-BE49-F238E27FC236}">
                <a16:creationId xmlns:a16="http://schemas.microsoft.com/office/drawing/2014/main" id="{D819D75E-6990-42A0-B121-2D5D4C647E60}"/>
              </a:ext>
            </a:extLst>
          </p:cNvPr>
          <p:cNvSpPr/>
          <p:nvPr/>
        </p:nvSpPr>
        <p:spPr>
          <a:xfrm>
            <a:off x="787981" y="5075012"/>
            <a:ext cx="11098933" cy="646329"/>
          </a:xfrm>
          <a:prstGeom prst="rect">
            <a:avLst/>
          </a:prstGeom>
        </p:spPr>
        <p:txBody>
          <a:bodyPr wrap="square" lIns="91438" tIns="45719" rIns="91438" bIns="45719">
            <a:spAutoFit/>
          </a:bodyPr>
          <a:lstStyle/>
          <a:p>
            <a:pPr fontAlgn="base"/>
            <a:r>
              <a:rPr lang="fr-FR" dirty="0">
                <a:solidFill>
                  <a:schemeClr val="tx1">
                    <a:lumMod val="85000"/>
                    <a:lumOff val="15000"/>
                  </a:schemeClr>
                </a:solidFill>
              </a:rPr>
              <a:t>Avec le soutien de 5 entreprises mécènes :
</a:t>
            </a:r>
            <a:endParaRPr lang="fr-FR" sz="1000" dirty="0"/>
          </a:p>
        </p:txBody>
      </p:sp>
    </p:spTree>
    <p:extLst>
      <p:ext uri="{BB962C8B-B14F-4D97-AF65-F5344CB8AC3E}">
        <p14:creationId xmlns:p14="http://schemas.microsoft.com/office/powerpoint/2010/main" val="1128458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suit and tie&#10;&#10;Description automatically generated with medium confidence">
            <a:extLst>
              <a:ext uri="{FF2B5EF4-FFF2-40B4-BE49-F238E27FC236}">
                <a16:creationId xmlns:a16="http://schemas.microsoft.com/office/drawing/2014/main" id="{44BD6AC5-67B3-47FC-83B1-581C49979B0A}"/>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6817" t="10580" r="20689" b="31913"/>
          <a:stretch/>
        </p:blipFill>
        <p:spPr>
          <a:xfrm>
            <a:off x="8601586" y="3690974"/>
            <a:ext cx="740061" cy="78532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4" name="Picture 3" descr="A person with dark hair&#10;&#10;Description automatically generated with low confidence">
            <a:extLst>
              <a:ext uri="{FF2B5EF4-FFF2-40B4-BE49-F238E27FC236}">
                <a16:creationId xmlns:a16="http://schemas.microsoft.com/office/drawing/2014/main" id="{D6BD6FAD-1664-4C13-80E1-46233E062F12}"/>
              </a:ext>
            </a:extLst>
          </p:cNvPr>
          <p:cNvPicPr>
            <a:picLocks noChangeAspect="1"/>
          </p:cNvPicPr>
          <p:nvPr/>
        </p:nvPicPr>
        <p:blipFill rotWithShape="1">
          <a:blip r:embed="rId5">
            <a:grayscl/>
            <a:extLst>
              <a:ext uri="{28A0092B-C50C-407E-A947-70E740481C1C}">
                <a14:useLocalDpi xmlns:a14="http://schemas.microsoft.com/office/drawing/2010/main" val="0"/>
              </a:ext>
            </a:extLst>
          </a:blip>
          <a:srcRect t="4912" b="16339"/>
          <a:stretch/>
        </p:blipFill>
        <p:spPr>
          <a:xfrm>
            <a:off x="8595883" y="2239983"/>
            <a:ext cx="756000" cy="794621"/>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1028" name="Picture 4" descr="image">
            <a:extLst>
              <a:ext uri="{FF2B5EF4-FFF2-40B4-BE49-F238E27FC236}">
                <a16:creationId xmlns:a16="http://schemas.microsoft.com/office/drawing/2014/main" id="{38064A23-259A-4409-93DF-0E161059F1A8}"/>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2239" b="11679"/>
          <a:stretch/>
        </p:blipFill>
        <p:spPr bwMode="auto">
          <a:xfrm>
            <a:off x="10235880" y="3697114"/>
            <a:ext cx="755999" cy="77918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026" name="Picture 2" descr="Image">
            <a:extLst>
              <a:ext uri="{FF2B5EF4-FFF2-40B4-BE49-F238E27FC236}">
                <a16:creationId xmlns:a16="http://schemas.microsoft.com/office/drawing/2014/main" id="{6729DA25-94E5-493F-B8D3-29D940683E88}"/>
              </a:ext>
            </a:extLst>
          </p:cNvPr>
          <p:cNvPicPr preferRelativeResize="0">
            <a:picLocks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flipH="1">
            <a:off x="6984664" y="3678822"/>
            <a:ext cx="648000" cy="828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3DA94280-24D9-4AB5-9275-46F9BF72BED8}"/>
              </a:ext>
            </a:extLst>
          </p:cNvPr>
          <p:cNvSpPr>
            <a:spLocks noGrp="1"/>
          </p:cNvSpPr>
          <p:nvPr>
            <p:ph type="title"/>
          </p:nvPr>
        </p:nvSpPr>
        <p:spPr>
          <a:xfrm>
            <a:off x="647269" y="135319"/>
            <a:ext cx="10343951" cy="865739"/>
          </a:xfrm>
        </p:spPr>
        <p:txBody>
          <a:bodyPr/>
          <a:lstStyle/>
          <a:p>
            <a:r>
              <a:rPr lang="en-US" sz="2400" dirty="0">
                <a:latin typeface="+mn-lt"/>
              </a:rPr>
              <a:t>Qui </a:t>
            </a:r>
            <a:r>
              <a:rPr lang="en-US" sz="2400" dirty="0" err="1">
                <a:latin typeface="+mn-lt"/>
              </a:rPr>
              <a:t>sommes</a:t>
            </a:r>
            <a:r>
              <a:rPr lang="en-US" sz="2400" dirty="0">
                <a:latin typeface="+mn-lt"/>
              </a:rPr>
              <a:t>-nous ?
</a:t>
            </a:r>
          </a:p>
        </p:txBody>
      </p:sp>
      <p:sp>
        <p:nvSpPr>
          <p:cNvPr id="8" name="Title 6">
            <a:extLst>
              <a:ext uri="{FF2B5EF4-FFF2-40B4-BE49-F238E27FC236}">
                <a16:creationId xmlns:a16="http://schemas.microsoft.com/office/drawing/2014/main" id="{93FD5088-6A76-4416-A61E-EB06DE05F6FC}"/>
              </a:ext>
            </a:extLst>
          </p:cNvPr>
          <p:cNvSpPr txBox="1">
            <a:spLocks/>
          </p:cNvSpPr>
          <p:nvPr/>
        </p:nvSpPr>
        <p:spPr>
          <a:xfrm>
            <a:off x="6119404" y="1603054"/>
            <a:ext cx="4320000"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lvl="0" algn="ctr">
              <a:defRPr/>
            </a:pPr>
            <a:r>
              <a:rPr lang="fr-FR" kern="0" dirty="0">
                <a:latin typeface="+mn-lt"/>
              </a:rPr>
              <a:t>L’équipe de préparation et d’animation</a:t>
            </a:r>
            <a:endParaRPr kumimoji="0" lang="en-US" sz="2000" b="0" i="0" u="none" strike="noStrike" kern="0" cap="none" spc="0" normalizeH="0" baseline="0" noProof="0" dirty="0">
              <a:ln>
                <a:noFill/>
              </a:ln>
              <a:solidFill>
                <a:srgbClr val="003A70"/>
              </a:solidFill>
              <a:effectLst/>
              <a:uLnTx/>
              <a:uFillTx/>
              <a:latin typeface="+mn-lt"/>
              <a:cs typeface="Arial"/>
              <a:sym typeface="Arial"/>
            </a:endParaRPr>
          </a:p>
        </p:txBody>
      </p:sp>
      <p:sp>
        <p:nvSpPr>
          <p:cNvPr id="9" name="Title 6">
            <a:extLst>
              <a:ext uri="{FF2B5EF4-FFF2-40B4-BE49-F238E27FC236}">
                <a16:creationId xmlns:a16="http://schemas.microsoft.com/office/drawing/2014/main" id="{C21F8C94-5273-48E9-AD72-CE4854AAD7C9}"/>
              </a:ext>
            </a:extLst>
          </p:cNvPr>
          <p:cNvSpPr txBox="1">
            <a:spLocks/>
          </p:cNvSpPr>
          <p:nvPr/>
        </p:nvSpPr>
        <p:spPr>
          <a:xfrm>
            <a:off x="374534" y="1603054"/>
            <a:ext cx="4320000"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000" b="0" i="0" u="none" strike="noStrike" kern="0" cap="none" spc="0" normalizeH="0" baseline="0" noProof="0" dirty="0" err="1">
                <a:ln>
                  <a:noFill/>
                </a:ln>
                <a:solidFill>
                  <a:srgbClr val="003A70"/>
                </a:solidFill>
                <a:effectLst/>
                <a:uLnTx/>
                <a:uFillTx/>
                <a:latin typeface="+mn-lt"/>
                <a:cs typeface="Arial"/>
                <a:sym typeface="Arial"/>
              </a:rPr>
              <a:t>L’équipe</a:t>
            </a:r>
            <a:r>
              <a:rPr kumimoji="0" lang="en-US" sz="2000" b="0" i="0" u="none" strike="noStrike" kern="0" cap="none" spc="0" normalizeH="0" baseline="0" noProof="0" dirty="0">
                <a:ln>
                  <a:noFill/>
                </a:ln>
                <a:solidFill>
                  <a:srgbClr val="003A70"/>
                </a:solidFill>
                <a:effectLst/>
                <a:uLnTx/>
                <a:uFillTx/>
                <a:latin typeface="+mn-lt"/>
                <a:cs typeface="Arial"/>
                <a:sym typeface="Arial"/>
              </a:rPr>
              <a:t> du </a:t>
            </a:r>
            <a:r>
              <a:rPr kumimoji="0" lang="en-US" sz="2000" b="0" i="0" u="none" strike="noStrike" kern="0" cap="none" spc="0" normalizeH="0" baseline="0" noProof="0" dirty="0" err="1">
                <a:ln>
                  <a:noFill/>
                </a:ln>
                <a:solidFill>
                  <a:srgbClr val="003A70"/>
                </a:solidFill>
                <a:effectLst/>
                <a:uLnTx/>
                <a:uFillTx/>
                <a:latin typeface="+mn-lt"/>
                <a:cs typeface="Arial"/>
                <a:sym typeface="Arial"/>
              </a:rPr>
              <a:t>projet</a:t>
            </a:r>
            <a:r>
              <a:rPr kumimoji="0" lang="en-US" sz="2000" b="0" i="0" u="none" strike="noStrike" kern="0" cap="none" spc="0" normalizeH="0" baseline="0" noProof="0" dirty="0">
                <a:ln>
                  <a:noFill/>
                </a:ln>
                <a:solidFill>
                  <a:srgbClr val="003A70"/>
                </a:solidFill>
                <a:effectLst/>
                <a:uLnTx/>
                <a:uFillTx/>
                <a:latin typeface="+mn-lt"/>
                <a:cs typeface="Arial"/>
                <a:sym typeface="Arial"/>
              </a:rPr>
              <a:t> Hi! PARIS</a:t>
            </a:r>
          </a:p>
        </p:txBody>
      </p:sp>
      <p:pic>
        <p:nvPicPr>
          <p:cNvPr id="10" name="Picture 9" descr="A person wearing glasses&#10;&#10;Description automatically generated with low confidence">
            <a:extLst>
              <a:ext uri="{FF2B5EF4-FFF2-40B4-BE49-F238E27FC236}">
                <a16:creationId xmlns:a16="http://schemas.microsoft.com/office/drawing/2014/main" id="{4A5DAC7C-3B8A-4681-A11A-03C5304E3482}"/>
              </a:ext>
            </a:extLst>
          </p:cNvPr>
          <p:cNvPicPr>
            <a:picLocks noChangeAspect="1"/>
          </p:cNvPicPr>
          <p:nvPr/>
        </p:nvPicPr>
        <p:blipFill>
          <a:blip r:embed="rId10">
            <a:grayscl/>
            <a:extLst>
              <a:ext uri="{28A0092B-C50C-407E-A947-70E740481C1C}">
                <a14:useLocalDpi xmlns:a14="http://schemas.microsoft.com/office/drawing/2010/main" val="0"/>
              </a:ext>
            </a:extLst>
          </a:blip>
          <a:stretch>
            <a:fillRect/>
          </a:stretch>
        </p:blipFill>
        <p:spPr>
          <a:xfrm>
            <a:off x="10235879" y="2278604"/>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6" name="Picture 35" descr="A person wearing a suit and tie&#10;&#10;Description automatically generated">
            <a:extLst>
              <a:ext uri="{FF2B5EF4-FFF2-40B4-BE49-F238E27FC236}">
                <a16:creationId xmlns:a16="http://schemas.microsoft.com/office/drawing/2014/main" id="{0484FF08-EEFC-4C56-A51E-32617E6C6B51}"/>
              </a:ext>
            </a:extLst>
          </p:cNvPr>
          <p:cNvPicPr>
            <a:picLocks noChangeAspect="1"/>
          </p:cNvPicPr>
          <p:nvPr/>
        </p:nvPicPr>
        <p:blipFill>
          <a:blip r:embed="rId11">
            <a:grayscl/>
            <a:extLst>
              <a:ext uri="{28A0092B-C50C-407E-A947-70E740481C1C}">
                <a14:useLocalDpi xmlns:a14="http://schemas.microsoft.com/office/drawing/2010/main" val="0"/>
              </a:ext>
            </a:extLst>
          </a:blip>
          <a:stretch>
            <a:fillRect/>
          </a:stretch>
        </p:blipFill>
        <p:spPr>
          <a:xfrm>
            <a:off x="6942136" y="2278604"/>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7" name="Picture 2" descr="D:\Documents\Hi-Paris\Présentations\logo-Hi-paris-petit.png">
            <a:extLst>
              <a:ext uri="{FF2B5EF4-FFF2-40B4-BE49-F238E27FC236}">
                <a16:creationId xmlns:a16="http://schemas.microsoft.com/office/drawing/2014/main" id="{23AEFF4D-86BA-4E21-8B1A-FB7075BC8C0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09383" y="1463167"/>
            <a:ext cx="802127" cy="52884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46" name="Picture 45" descr="A picture containing text, clipart&#10;&#10;Description automatically generated">
            <a:extLst>
              <a:ext uri="{FF2B5EF4-FFF2-40B4-BE49-F238E27FC236}">
                <a16:creationId xmlns:a16="http://schemas.microsoft.com/office/drawing/2014/main" id="{034AA762-6BA5-4A5F-AECF-58AE261F4B4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479901" y="1625341"/>
            <a:ext cx="1425600" cy="356400"/>
          </a:xfrm>
          <a:prstGeom prst="rect">
            <a:avLst/>
          </a:prstGeom>
          <a:effectLst/>
        </p:spPr>
      </p:pic>
      <p:sp>
        <p:nvSpPr>
          <p:cNvPr id="48" name="Title 6">
            <a:extLst>
              <a:ext uri="{FF2B5EF4-FFF2-40B4-BE49-F238E27FC236}">
                <a16:creationId xmlns:a16="http://schemas.microsoft.com/office/drawing/2014/main" id="{DE402871-DCEC-458F-BD23-C5F926FCC52D}"/>
              </a:ext>
            </a:extLst>
          </p:cNvPr>
          <p:cNvSpPr txBox="1">
            <a:spLocks/>
          </p:cNvSpPr>
          <p:nvPr/>
        </p:nvSpPr>
        <p:spPr>
          <a:xfrm>
            <a:off x="8266713"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lang="en-US" sz="900" kern="0"/>
              <a:t>G</a:t>
            </a:r>
            <a:r>
              <a:rPr kumimoji="0" lang="en-US" sz="900" b="0" i="0" u="none" strike="noStrike" kern="0" cap="none" spc="0" normalizeH="0" baseline="0" noProof="0" err="1">
                <a:ln>
                  <a:noFill/>
                </a:ln>
                <a:solidFill>
                  <a:srgbClr val="003A70"/>
                </a:solidFill>
                <a:effectLst/>
                <a:uLnTx/>
                <a:uFillTx/>
                <a:latin typeface="Arial"/>
                <a:cs typeface="Arial"/>
                <a:sym typeface="Arial"/>
              </a:rPr>
              <a:t>hita</a:t>
            </a:r>
            <a:r>
              <a:rPr kumimoji="0" lang="en-US" sz="900" b="0" i="0" u="none" strike="noStrike" kern="0" cap="none" spc="0" normalizeH="0" baseline="0" noProof="0">
                <a:ln>
                  <a:noFill/>
                </a:ln>
                <a:solidFill>
                  <a:srgbClr val="003A70"/>
                </a:solidFill>
                <a:effectLst/>
                <a:uLnTx/>
                <a:uFillTx/>
                <a:latin typeface="Arial"/>
                <a:cs typeface="Arial"/>
                <a:sym typeface="Arial"/>
              </a:rPr>
              <a:t> </a:t>
            </a:r>
            <a:r>
              <a:rPr kumimoji="0" lang="en-US" sz="900" b="0" i="0" u="none" strike="noStrike" kern="0" cap="none" spc="0" normalizeH="0" baseline="0" noProof="0" err="1">
                <a:ln>
                  <a:noFill/>
                </a:ln>
                <a:solidFill>
                  <a:srgbClr val="003A70"/>
                </a:solidFill>
                <a:effectLst/>
                <a:uLnTx/>
                <a:uFillTx/>
                <a:latin typeface="Arial"/>
                <a:cs typeface="Arial"/>
                <a:sym typeface="Arial"/>
              </a:rPr>
              <a:t>Laissaoui</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lang="en-US" sz="900" kern="0"/>
              <a:t>Consultant</a:t>
            </a:r>
            <a:endParaRPr kumimoji="0" lang="en-US" sz="900" b="0" i="0" u="none" strike="noStrike" kern="0" cap="none" spc="0" normalizeH="0" baseline="0" noProof="0">
              <a:ln>
                <a:noFill/>
              </a:ln>
              <a:solidFill>
                <a:srgbClr val="003A70"/>
              </a:solidFill>
              <a:effectLst/>
              <a:uLnTx/>
              <a:uFillTx/>
              <a:latin typeface="Arial"/>
              <a:cs typeface="Arial"/>
              <a:sym typeface="Arial"/>
            </a:endParaRPr>
          </a:p>
        </p:txBody>
      </p:sp>
      <p:sp>
        <p:nvSpPr>
          <p:cNvPr id="49" name="Title 6">
            <a:extLst>
              <a:ext uri="{FF2B5EF4-FFF2-40B4-BE49-F238E27FC236}">
                <a16:creationId xmlns:a16="http://schemas.microsoft.com/office/drawing/2014/main" id="{299E9F4C-4906-49A4-B44D-60A6F0277F53}"/>
              </a:ext>
            </a:extLst>
          </p:cNvPr>
          <p:cNvSpPr txBox="1">
            <a:spLocks/>
          </p:cNvSpPr>
          <p:nvPr/>
        </p:nvSpPr>
        <p:spPr>
          <a:xfrm>
            <a:off x="9906709"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Alioune Ka</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Data Scientist</a:t>
            </a:r>
          </a:p>
        </p:txBody>
      </p:sp>
      <p:sp>
        <p:nvSpPr>
          <p:cNvPr id="50" name="Title 6">
            <a:extLst>
              <a:ext uri="{FF2B5EF4-FFF2-40B4-BE49-F238E27FC236}">
                <a16:creationId xmlns:a16="http://schemas.microsoft.com/office/drawing/2014/main" id="{57197083-0C6E-4E7B-AD3C-BCDF05FB33DE}"/>
              </a:ext>
            </a:extLst>
          </p:cNvPr>
          <p:cNvSpPr txBox="1">
            <a:spLocks/>
          </p:cNvSpPr>
          <p:nvPr/>
        </p:nvSpPr>
        <p:spPr>
          <a:xfrm>
            <a:off x="9906709"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Thibault </a:t>
            </a:r>
            <a:r>
              <a:rPr kumimoji="0" lang="en-US" sz="900" b="0" i="0" u="none" strike="noStrike" kern="0" cap="none" spc="0" normalizeH="0" baseline="0" noProof="0" err="1">
                <a:ln>
                  <a:noFill/>
                </a:ln>
                <a:solidFill>
                  <a:srgbClr val="003A70"/>
                </a:solidFill>
                <a:effectLst/>
                <a:uLnTx/>
                <a:uFillTx/>
                <a:latin typeface="Arial"/>
                <a:cs typeface="Arial"/>
                <a:sym typeface="Arial"/>
              </a:rPr>
              <a:t>Venet</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Data Scientist</a:t>
            </a:r>
          </a:p>
        </p:txBody>
      </p:sp>
      <p:sp>
        <p:nvSpPr>
          <p:cNvPr id="52" name="Title 6">
            <a:extLst>
              <a:ext uri="{FF2B5EF4-FFF2-40B4-BE49-F238E27FC236}">
                <a16:creationId xmlns:a16="http://schemas.microsoft.com/office/drawing/2014/main" id="{9DAD4285-15B7-4BAF-B687-48C12A9DB898}"/>
              </a:ext>
            </a:extLst>
          </p:cNvPr>
          <p:cNvSpPr txBox="1">
            <a:spLocks/>
          </p:cNvSpPr>
          <p:nvPr/>
        </p:nvSpPr>
        <p:spPr>
          <a:xfrm>
            <a:off x="6612966"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Eloi Jabet</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Managing consultant</a:t>
            </a:r>
          </a:p>
        </p:txBody>
      </p:sp>
      <p:sp>
        <p:nvSpPr>
          <p:cNvPr id="53" name="Title 6">
            <a:extLst>
              <a:ext uri="{FF2B5EF4-FFF2-40B4-BE49-F238E27FC236}">
                <a16:creationId xmlns:a16="http://schemas.microsoft.com/office/drawing/2014/main" id="{19AF14D9-AA50-4F85-BBA3-22484A4BB56A}"/>
              </a:ext>
            </a:extLst>
          </p:cNvPr>
          <p:cNvSpPr txBox="1">
            <a:spLocks/>
          </p:cNvSpPr>
          <p:nvPr/>
        </p:nvSpPr>
        <p:spPr>
          <a:xfrm>
            <a:off x="6612966"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Mohamed </a:t>
            </a:r>
            <a:r>
              <a:rPr kumimoji="0" lang="en-US" sz="900" b="0" i="0" u="none" strike="noStrike" kern="0" cap="none" spc="0" normalizeH="0" baseline="0" noProof="0" err="1">
                <a:ln>
                  <a:noFill/>
                </a:ln>
                <a:solidFill>
                  <a:srgbClr val="003A70"/>
                </a:solidFill>
                <a:effectLst/>
                <a:uLnTx/>
                <a:uFillTx/>
                <a:latin typeface="Arial"/>
                <a:cs typeface="Arial"/>
                <a:sym typeface="Arial"/>
              </a:rPr>
              <a:t>Ihaddadene</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Data Scientist</a:t>
            </a:r>
          </a:p>
        </p:txBody>
      </p:sp>
      <p:sp>
        <p:nvSpPr>
          <p:cNvPr id="54" name="Title 6">
            <a:extLst>
              <a:ext uri="{FF2B5EF4-FFF2-40B4-BE49-F238E27FC236}">
                <a16:creationId xmlns:a16="http://schemas.microsoft.com/office/drawing/2014/main" id="{21082FAA-7789-42E2-BCF4-B951956E6F22}"/>
              </a:ext>
            </a:extLst>
          </p:cNvPr>
          <p:cNvSpPr txBox="1">
            <a:spLocks/>
          </p:cNvSpPr>
          <p:nvPr/>
        </p:nvSpPr>
        <p:spPr>
          <a:xfrm>
            <a:off x="8266713"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Yassine </a:t>
            </a:r>
            <a:r>
              <a:rPr kumimoji="0" lang="en-US" sz="900" b="0" i="0" u="none" strike="noStrike" kern="0" cap="none" spc="0" normalizeH="0" baseline="0" noProof="0" err="1">
                <a:ln>
                  <a:noFill/>
                </a:ln>
                <a:solidFill>
                  <a:srgbClr val="003A70"/>
                </a:solidFill>
                <a:effectLst/>
                <a:uLnTx/>
                <a:uFillTx/>
                <a:latin typeface="Arial"/>
                <a:cs typeface="Arial"/>
                <a:sym typeface="Arial"/>
              </a:rPr>
              <a:t>Loqmane</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Consultant</a:t>
            </a:r>
          </a:p>
        </p:txBody>
      </p:sp>
      <p:pic>
        <p:nvPicPr>
          <p:cNvPr id="32" name="Picture 31" descr="A person wearing glasses&#10;&#10;Description automatically generated with medium confidence">
            <a:extLst>
              <a:ext uri="{FF2B5EF4-FFF2-40B4-BE49-F238E27FC236}">
                <a16:creationId xmlns:a16="http://schemas.microsoft.com/office/drawing/2014/main" id="{EB80EBE6-110D-4154-B1E7-80AEAC974C76}"/>
              </a:ext>
            </a:extLst>
          </p:cNvPr>
          <p:cNvPicPr>
            <a:picLocks noChangeAspect="1"/>
          </p:cNvPicPr>
          <p:nvPr/>
        </p:nvPicPr>
        <p:blipFill>
          <a:blip r:embed="rId14">
            <a:grayscl/>
            <a:extLst>
              <a:ext uri="{28A0092B-C50C-407E-A947-70E740481C1C}">
                <a14:useLocalDpi xmlns:a14="http://schemas.microsoft.com/office/drawing/2010/main" val="0"/>
              </a:ext>
            </a:extLst>
          </a:blip>
          <a:stretch>
            <a:fillRect/>
          </a:stretch>
        </p:blipFill>
        <p:spPr>
          <a:xfrm>
            <a:off x="2727647" y="3720303"/>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3" name="Picture 32" descr="A picture containing person, person, indoor, smiling&#10;&#10;Description automatically generated">
            <a:extLst>
              <a:ext uri="{FF2B5EF4-FFF2-40B4-BE49-F238E27FC236}">
                <a16:creationId xmlns:a16="http://schemas.microsoft.com/office/drawing/2014/main" id="{2E93F9F9-B3B6-4746-9F82-3D12A6697EE1}"/>
              </a:ext>
            </a:extLst>
          </p:cNvPr>
          <p:cNvPicPr>
            <a:picLocks noChangeAspect="1"/>
          </p:cNvPicPr>
          <p:nvPr/>
        </p:nvPicPr>
        <p:blipFill>
          <a:blip r:embed="rId15">
            <a:grayscl/>
            <a:extLst>
              <a:ext uri="{28A0092B-C50C-407E-A947-70E740481C1C}">
                <a14:useLocalDpi xmlns:a14="http://schemas.microsoft.com/office/drawing/2010/main" val="0"/>
              </a:ext>
            </a:extLst>
          </a:blip>
          <a:stretch>
            <a:fillRect/>
          </a:stretch>
        </p:blipFill>
        <p:spPr>
          <a:xfrm>
            <a:off x="4242269" y="3719842"/>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4" name="Picture 33" descr="A person smiling for the camera&#10;&#10;Description automatically generated with medium confidence">
            <a:extLst>
              <a:ext uri="{FF2B5EF4-FFF2-40B4-BE49-F238E27FC236}">
                <a16:creationId xmlns:a16="http://schemas.microsoft.com/office/drawing/2014/main" id="{CFDCD8E0-5B56-4E08-8A34-3DC615AD4D52}"/>
              </a:ext>
            </a:extLst>
          </p:cNvPr>
          <p:cNvPicPr>
            <a:picLocks noChangeAspect="1"/>
          </p:cNvPicPr>
          <p:nvPr/>
        </p:nvPicPr>
        <p:blipFill>
          <a:blip r:embed="rId16">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val="0"/>
              </a:ext>
            </a:extLst>
          </a:blip>
          <a:stretch>
            <a:fillRect/>
          </a:stretch>
        </p:blipFill>
        <p:spPr>
          <a:xfrm>
            <a:off x="3434816" y="2278604"/>
            <a:ext cx="7560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5" name="Picture 34" descr="A person wearing glasses&#10;&#10;Description automatically generated with medium confidence">
            <a:extLst>
              <a:ext uri="{FF2B5EF4-FFF2-40B4-BE49-F238E27FC236}">
                <a16:creationId xmlns:a16="http://schemas.microsoft.com/office/drawing/2014/main" id="{71211B11-2FC4-42E2-B938-E15E45A6B605}"/>
              </a:ext>
            </a:extLst>
          </p:cNvPr>
          <p:cNvPicPr>
            <a:picLocks noChangeAspect="1"/>
          </p:cNvPicPr>
          <p:nvPr/>
        </p:nvPicPr>
        <p:blipFill rotWithShape="1">
          <a:blip r:embed="rId18">
            <a:grayscl/>
            <a:extLst>
              <a:ext uri="{28A0092B-C50C-407E-A947-70E740481C1C}">
                <a14:useLocalDpi xmlns:a14="http://schemas.microsoft.com/office/drawing/2010/main" val="0"/>
              </a:ext>
            </a:extLst>
          </a:blip>
          <a:srcRect l="11249" r="11375"/>
          <a:stretch/>
        </p:blipFill>
        <p:spPr>
          <a:xfrm>
            <a:off x="1954245" y="2278604"/>
            <a:ext cx="728166"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38" name="Picture 37" descr="A person smiling for the picture&#10;&#10;Description automatically generated with low confidence">
            <a:extLst>
              <a:ext uri="{FF2B5EF4-FFF2-40B4-BE49-F238E27FC236}">
                <a16:creationId xmlns:a16="http://schemas.microsoft.com/office/drawing/2014/main" id="{A72B0EDC-BB60-40F3-96AE-7D432C9585D4}"/>
              </a:ext>
            </a:extLst>
          </p:cNvPr>
          <p:cNvPicPr>
            <a:picLocks noChangeAspect="1"/>
          </p:cNvPicPr>
          <p:nvPr/>
        </p:nvPicPr>
        <p:blipFill rotWithShape="1">
          <a:blip r:embed="rId19">
            <a:grayscl/>
            <a:extLst>
              <a:ext uri="{28A0092B-C50C-407E-A947-70E740481C1C}">
                <a14:useLocalDpi xmlns:a14="http://schemas.microsoft.com/office/drawing/2010/main" val="0"/>
              </a:ext>
            </a:extLst>
          </a:blip>
          <a:srcRect l="-1" t="5732" r="578" b="20456"/>
          <a:stretch/>
        </p:blipFill>
        <p:spPr>
          <a:xfrm>
            <a:off x="1156508" y="3720303"/>
            <a:ext cx="793800" cy="7560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
        <p:nvSpPr>
          <p:cNvPr id="39" name="Title 6">
            <a:extLst>
              <a:ext uri="{FF2B5EF4-FFF2-40B4-BE49-F238E27FC236}">
                <a16:creationId xmlns:a16="http://schemas.microsoft.com/office/drawing/2014/main" id="{F46C642F-6AC3-40F9-BF62-EDE70D0AE99E}"/>
              </a:ext>
            </a:extLst>
          </p:cNvPr>
          <p:cNvSpPr txBox="1">
            <a:spLocks/>
          </p:cNvSpPr>
          <p:nvPr/>
        </p:nvSpPr>
        <p:spPr>
          <a:xfrm>
            <a:off x="3931998"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Ghislain Mazars</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Founder – </a:t>
            </a:r>
            <a:r>
              <a:rPr kumimoji="0" lang="en-US" sz="900" b="0" i="0" u="none" strike="noStrike" kern="0" cap="none" spc="0" normalizeH="0" baseline="0" noProof="0" err="1">
                <a:ln>
                  <a:noFill/>
                </a:ln>
                <a:solidFill>
                  <a:srgbClr val="003A70"/>
                </a:solidFill>
                <a:effectLst/>
                <a:uLnTx/>
                <a:uFillTx/>
                <a:latin typeface="Arial"/>
                <a:cs typeface="Arial"/>
                <a:sym typeface="Arial"/>
              </a:rPr>
              <a:t>Ubeeko</a:t>
            </a:r>
            <a:endParaRPr kumimoji="0" lang="en-US" sz="900" b="0" i="0" u="none" strike="noStrike" kern="0" cap="none" spc="0" normalizeH="0" baseline="0" noProof="0">
              <a:ln>
                <a:noFill/>
              </a:ln>
              <a:solidFill>
                <a:srgbClr val="003A70"/>
              </a:solidFill>
              <a:effectLst/>
              <a:uLnTx/>
              <a:uFillTx/>
              <a:latin typeface="Arial"/>
              <a:cs typeface="Arial"/>
              <a:sym typeface="Arial"/>
            </a:endParaRPr>
          </a:p>
        </p:txBody>
      </p:sp>
      <p:sp>
        <p:nvSpPr>
          <p:cNvPr id="40" name="Title 6">
            <a:extLst>
              <a:ext uri="{FF2B5EF4-FFF2-40B4-BE49-F238E27FC236}">
                <a16:creationId xmlns:a16="http://schemas.microsoft.com/office/drawing/2014/main" id="{499CFD65-D6A7-4118-A666-1BEFD09F8616}"/>
              </a:ext>
            </a:extLst>
          </p:cNvPr>
          <p:cNvSpPr txBox="1">
            <a:spLocks/>
          </p:cNvSpPr>
          <p:nvPr/>
        </p:nvSpPr>
        <p:spPr>
          <a:xfrm>
            <a:off x="1611157" y="3067932"/>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dirty="0">
                <a:ln>
                  <a:noFill/>
                </a:ln>
                <a:solidFill>
                  <a:srgbClr val="003A70"/>
                </a:solidFill>
                <a:effectLst/>
                <a:uLnTx/>
                <a:uFillTx/>
                <a:latin typeface="Arial"/>
                <a:cs typeface="Arial"/>
                <a:sym typeface="Arial"/>
              </a:rPr>
              <a:t>Gaël Richard</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dirty="0">
                <a:ln>
                  <a:noFill/>
                </a:ln>
                <a:solidFill>
                  <a:srgbClr val="003A70"/>
                </a:solidFill>
                <a:effectLst/>
                <a:uLnTx/>
                <a:uFillTx/>
                <a:latin typeface="Arial"/>
                <a:cs typeface="Arial"/>
                <a:sym typeface="Arial"/>
              </a:rPr>
              <a:t>Executive Director – Hi! PARIS</a:t>
            </a:r>
          </a:p>
        </p:txBody>
      </p:sp>
      <p:sp>
        <p:nvSpPr>
          <p:cNvPr id="43" name="Title 6">
            <a:extLst>
              <a:ext uri="{FF2B5EF4-FFF2-40B4-BE49-F238E27FC236}">
                <a16:creationId xmlns:a16="http://schemas.microsoft.com/office/drawing/2014/main" id="{25E4AC6B-3C34-4DE4-A968-C8CAEF434942}"/>
              </a:ext>
            </a:extLst>
          </p:cNvPr>
          <p:cNvSpPr txBox="1">
            <a:spLocks/>
          </p:cNvSpPr>
          <p:nvPr/>
        </p:nvSpPr>
        <p:spPr>
          <a:xfrm>
            <a:off x="846237"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Emmanuel Gobet</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Professor - Polytechnique</a:t>
            </a:r>
          </a:p>
        </p:txBody>
      </p:sp>
      <p:sp>
        <p:nvSpPr>
          <p:cNvPr id="44" name="Title 6">
            <a:extLst>
              <a:ext uri="{FF2B5EF4-FFF2-40B4-BE49-F238E27FC236}">
                <a16:creationId xmlns:a16="http://schemas.microsoft.com/office/drawing/2014/main" id="{8E06FA6F-16A2-41C4-A200-03F5FCB73FD1}"/>
              </a:ext>
            </a:extLst>
          </p:cNvPr>
          <p:cNvSpPr txBox="1">
            <a:spLocks/>
          </p:cNvSpPr>
          <p:nvPr/>
        </p:nvSpPr>
        <p:spPr>
          <a:xfrm>
            <a:off x="2379576" y="4509170"/>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Vincent </a:t>
            </a:r>
            <a:r>
              <a:rPr kumimoji="0" lang="en-US" sz="900" b="0" i="0" u="none" strike="noStrike" kern="0" cap="none" spc="0" normalizeH="0" baseline="0" noProof="0" err="1">
                <a:ln>
                  <a:noFill/>
                </a:ln>
                <a:solidFill>
                  <a:srgbClr val="003A70"/>
                </a:solidFill>
                <a:effectLst/>
                <a:uLnTx/>
                <a:uFillTx/>
                <a:latin typeface="Arial"/>
                <a:cs typeface="Arial"/>
                <a:sym typeface="Arial"/>
              </a:rPr>
              <a:t>Fraitot</a:t>
            </a:r>
            <a:endParaRPr kumimoji="0" lang="en-US" sz="900" b="0" i="0" u="none" strike="noStrike" kern="0" cap="none" spc="0" normalizeH="0" baseline="0" noProof="0">
              <a:ln>
                <a:noFill/>
              </a:ln>
              <a:solidFill>
                <a:srgbClr val="003A7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Professor - HEC</a:t>
            </a:r>
          </a:p>
        </p:txBody>
      </p:sp>
      <p:sp>
        <p:nvSpPr>
          <p:cNvPr id="45" name="Title 6">
            <a:extLst>
              <a:ext uri="{FF2B5EF4-FFF2-40B4-BE49-F238E27FC236}">
                <a16:creationId xmlns:a16="http://schemas.microsoft.com/office/drawing/2014/main" id="{8BF883A0-3980-4CCE-A40F-EA7E926D4773}"/>
              </a:ext>
            </a:extLst>
          </p:cNvPr>
          <p:cNvSpPr txBox="1">
            <a:spLocks/>
          </p:cNvSpPr>
          <p:nvPr/>
        </p:nvSpPr>
        <p:spPr>
          <a:xfrm>
            <a:off x="3105645" y="3067471"/>
            <a:ext cx="1414341" cy="440316"/>
          </a:xfrm>
          <a:prstGeom prst="rect">
            <a:avLst/>
          </a:prstGeom>
          <a:noFill/>
          <a:ln>
            <a:noFill/>
          </a:ln>
          <a:effectLst/>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dirty="0">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Beatrice Arnulphy</a:t>
            </a:r>
          </a:p>
          <a:p>
            <a:pPr marL="0" marR="0" lvl="0" indent="0" algn="ctr"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900" b="0" i="0" u="none" strike="noStrike" kern="0" cap="none" spc="0" normalizeH="0" baseline="0" noProof="0">
                <a:ln>
                  <a:noFill/>
                </a:ln>
                <a:solidFill>
                  <a:srgbClr val="003A70"/>
                </a:solidFill>
                <a:effectLst/>
                <a:uLnTx/>
                <a:uFillTx/>
                <a:latin typeface="Arial"/>
                <a:cs typeface="Arial"/>
                <a:sym typeface="Arial"/>
              </a:rPr>
              <a:t>Project Manager – Hi! PARIS</a:t>
            </a:r>
          </a:p>
        </p:txBody>
      </p:sp>
    </p:spTree>
    <p:extLst>
      <p:ext uri="{BB962C8B-B14F-4D97-AF65-F5344CB8AC3E}">
        <p14:creationId xmlns:p14="http://schemas.microsoft.com/office/powerpoint/2010/main" val="3429431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2261528"/>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519030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18585747-83A8-4117-851E-171ACF6902DF}"/>
              </a:ext>
            </a:extLst>
          </p:cNvPr>
          <p:cNvGrpSpPr/>
          <p:nvPr/>
        </p:nvGrpSpPr>
        <p:grpSpPr>
          <a:xfrm>
            <a:off x="173893" y="2754275"/>
            <a:ext cx="3574960" cy="2614546"/>
            <a:chOff x="140416" y="2634569"/>
            <a:chExt cx="3927934" cy="2874250"/>
          </a:xfrm>
        </p:grpSpPr>
        <p:pic>
          <p:nvPicPr>
            <p:cNvPr id="13" name="Image 12">
              <a:extLst>
                <a:ext uri="{FF2B5EF4-FFF2-40B4-BE49-F238E27FC236}">
                  <a16:creationId xmlns:a16="http://schemas.microsoft.com/office/drawing/2014/main" id="{3B447028-7EBE-47E6-91A8-F166156BD385}"/>
                </a:ext>
              </a:extLst>
            </p:cNvPr>
            <p:cNvPicPr>
              <a:picLocks noChangeAspect="1"/>
            </p:cNvPicPr>
            <p:nvPr/>
          </p:nvPicPr>
          <p:blipFill>
            <a:blip r:embed="rId2"/>
            <a:stretch>
              <a:fillRect/>
            </a:stretch>
          </p:blipFill>
          <p:spPr>
            <a:xfrm>
              <a:off x="140416" y="2634569"/>
              <a:ext cx="3927934" cy="2874250"/>
            </a:xfrm>
            <a:prstGeom prst="rect">
              <a:avLst/>
            </a:prstGeom>
          </p:spPr>
        </p:pic>
        <p:pic>
          <p:nvPicPr>
            <p:cNvPr id="15" name="Image 14">
              <a:extLst>
                <a:ext uri="{FF2B5EF4-FFF2-40B4-BE49-F238E27FC236}">
                  <a16:creationId xmlns:a16="http://schemas.microsoft.com/office/drawing/2014/main" id="{F2B3B9FC-CD57-4F1D-B826-56EE68CAA17C}"/>
                </a:ext>
              </a:extLst>
            </p:cNvPr>
            <p:cNvPicPr>
              <a:picLocks noChangeAspect="1"/>
            </p:cNvPicPr>
            <p:nvPr/>
          </p:nvPicPr>
          <p:blipFill>
            <a:blip r:embed="rId3"/>
            <a:stretch>
              <a:fillRect/>
            </a:stretch>
          </p:blipFill>
          <p:spPr>
            <a:xfrm>
              <a:off x="1736335" y="5347120"/>
              <a:ext cx="728714" cy="88151"/>
            </a:xfrm>
            <a:prstGeom prst="rect">
              <a:avLst/>
            </a:prstGeom>
          </p:spPr>
        </p:pic>
      </p:grpSp>
      <p:sp>
        <p:nvSpPr>
          <p:cNvPr id="4" name="Title 3">
            <a:extLst>
              <a:ext uri="{FF2B5EF4-FFF2-40B4-BE49-F238E27FC236}">
                <a16:creationId xmlns:a16="http://schemas.microsoft.com/office/drawing/2014/main" id="{15407D68-D9F1-47E2-BD12-A808D46D26DF}"/>
              </a:ext>
            </a:extLst>
          </p:cNvPr>
          <p:cNvSpPr>
            <a:spLocks noGrp="1"/>
          </p:cNvSpPr>
          <p:nvPr>
            <p:ph type="title"/>
          </p:nvPr>
        </p:nvSpPr>
        <p:spPr>
          <a:xfrm>
            <a:off x="632389" y="-41211"/>
            <a:ext cx="11151624" cy="865739"/>
          </a:xfrm>
        </p:spPr>
        <p:txBody>
          <a:bodyPr/>
          <a:lstStyle/>
          <a:p>
            <a:r>
              <a:rPr lang="en-US" dirty="0" err="1"/>
              <a:t>Présentation</a:t>
            </a:r>
            <a:r>
              <a:rPr lang="en-US" dirty="0"/>
              <a:t> du challenge</a:t>
            </a:r>
          </a:p>
        </p:txBody>
      </p:sp>
      <p:sp>
        <p:nvSpPr>
          <p:cNvPr id="16" name="ZoneTexte 15">
            <a:extLst>
              <a:ext uri="{FF2B5EF4-FFF2-40B4-BE49-F238E27FC236}">
                <a16:creationId xmlns:a16="http://schemas.microsoft.com/office/drawing/2014/main" id="{6D72826E-5F0A-4990-9000-A514191E0D69}"/>
              </a:ext>
            </a:extLst>
          </p:cNvPr>
          <p:cNvSpPr txBox="1"/>
          <p:nvPr/>
        </p:nvSpPr>
        <p:spPr>
          <a:xfrm>
            <a:off x="108836" y="6072755"/>
            <a:ext cx="2776722" cy="230832"/>
          </a:xfrm>
          <a:prstGeom prst="rect">
            <a:avLst/>
          </a:prstGeom>
          <a:noFill/>
        </p:spPr>
        <p:txBody>
          <a:bodyPr wrap="none" rtlCol="0">
            <a:spAutoFit/>
          </a:bodyPr>
          <a:lstStyle/>
          <a:p>
            <a:r>
              <a:rPr lang="fr-FR" sz="900">
                <a:solidFill>
                  <a:srgbClr val="385D8A"/>
                </a:solidFill>
              </a:rPr>
              <a:t>Source :</a:t>
            </a:r>
            <a:r>
              <a:rPr lang="fr-FR" sz="900"/>
              <a:t> </a:t>
            </a:r>
            <a:r>
              <a:rPr lang="fr-FR" sz="900" i="1" u="sng">
                <a:solidFill>
                  <a:srgbClr val="0563C1"/>
                </a:solidFill>
                <a:effectLst/>
                <a:latin typeface="Calibri" panose="020F0502020204030204" pitchFamily="34" charset="0"/>
                <a:ea typeface="Calibri" panose="020F0502020204030204" pitchFamily="34" charset="0"/>
                <a:hlinkClick r:id="rId4"/>
              </a:rPr>
              <a:t>https://www.insee.fr/fr/statistiques/5013868</a:t>
            </a:r>
            <a:endParaRPr lang="fr-FR" sz="900"/>
          </a:p>
        </p:txBody>
      </p:sp>
      <p:sp>
        <p:nvSpPr>
          <p:cNvPr id="7" name="Rectangle : coins arrondis 6">
            <a:extLst>
              <a:ext uri="{FF2B5EF4-FFF2-40B4-BE49-F238E27FC236}">
                <a16:creationId xmlns:a16="http://schemas.microsoft.com/office/drawing/2014/main" id="{A0A74BD9-2C87-41CF-8569-2C9F5EDF3EE4}"/>
              </a:ext>
            </a:extLst>
          </p:cNvPr>
          <p:cNvSpPr/>
          <p:nvPr/>
        </p:nvSpPr>
        <p:spPr>
          <a:xfrm>
            <a:off x="108836" y="1532438"/>
            <a:ext cx="3623796" cy="4536000"/>
          </a:xfrm>
          <a:prstGeom prst="roundRect">
            <a:avLst>
              <a:gd name="adj" fmla="val 4221"/>
            </a:avLst>
          </a:prstGeom>
          <a:noFill/>
          <a:ln>
            <a:solidFill>
              <a:srgbClr val="FF034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lang="fr-FR">
              <a:solidFill>
                <a:srgbClr val="FF034D"/>
              </a:solidFill>
            </a:endParaRPr>
          </a:p>
        </p:txBody>
      </p:sp>
      <p:sp>
        <p:nvSpPr>
          <p:cNvPr id="10" name="ZoneTexte 9">
            <a:extLst>
              <a:ext uri="{FF2B5EF4-FFF2-40B4-BE49-F238E27FC236}">
                <a16:creationId xmlns:a16="http://schemas.microsoft.com/office/drawing/2014/main" id="{CC798144-B3B1-4E74-961E-82318E8BDB74}"/>
              </a:ext>
            </a:extLst>
          </p:cNvPr>
          <p:cNvSpPr txBox="1"/>
          <p:nvPr/>
        </p:nvSpPr>
        <p:spPr>
          <a:xfrm>
            <a:off x="1331318" y="1041545"/>
            <a:ext cx="1172116" cy="369332"/>
          </a:xfrm>
          <a:prstGeom prst="rect">
            <a:avLst/>
          </a:prstGeom>
          <a:noFill/>
        </p:spPr>
        <p:txBody>
          <a:bodyPr wrap="none" rtlCol="0">
            <a:spAutoFit/>
          </a:bodyPr>
          <a:lstStyle/>
          <a:p>
            <a:r>
              <a:rPr lang="fr-FR" b="1">
                <a:solidFill>
                  <a:srgbClr val="004575"/>
                </a:solidFill>
              </a:rPr>
              <a:t>Contexte</a:t>
            </a:r>
          </a:p>
        </p:txBody>
      </p:sp>
      <p:sp>
        <p:nvSpPr>
          <p:cNvPr id="11" name="ZoneTexte 10">
            <a:extLst>
              <a:ext uri="{FF2B5EF4-FFF2-40B4-BE49-F238E27FC236}">
                <a16:creationId xmlns:a16="http://schemas.microsoft.com/office/drawing/2014/main" id="{3022D623-A7F1-4717-A2E6-EFAB2A914DC0}"/>
              </a:ext>
            </a:extLst>
          </p:cNvPr>
          <p:cNvSpPr txBox="1"/>
          <p:nvPr/>
        </p:nvSpPr>
        <p:spPr>
          <a:xfrm>
            <a:off x="216416" y="1737320"/>
            <a:ext cx="3408637" cy="830997"/>
          </a:xfrm>
          <a:prstGeom prst="rect">
            <a:avLst/>
          </a:prstGeom>
          <a:noFill/>
        </p:spPr>
        <p:txBody>
          <a:bodyPr wrap="square" rtlCol="0">
            <a:spAutoFit/>
          </a:bodyPr>
          <a:lstStyle/>
          <a:p>
            <a:r>
              <a:rPr lang="fr-FR" sz="1200" dirty="0">
                <a:solidFill>
                  <a:srgbClr val="385D8A"/>
                </a:solidFill>
                <a:latin typeface="Calibri" panose="020F0502020204030204" pitchFamily="34" charset="0"/>
              </a:rPr>
              <a:t>Etude INSEE :</a:t>
            </a:r>
          </a:p>
          <a:p>
            <a:endParaRPr lang="fr-FR" sz="1200" dirty="0">
              <a:solidFill>
                <a:srgbClr val="385D8A"/>
              </a:solidFill>
              <a:latin typeface="Calibri" panose="020F0502020204030204" pitchFamily="34" charset="0"/>
            </a:endParaRPr>
          </a:p>
          <a:p>
            <a:pPr algn="ctr"/>
            <a:r>
              <a:rPr lang="fr-FR" sz="1200" i="1" dirty="0">
                <a:solidFill>
                  <a:srgbClr val="385D8A"/>
                </a:solidFill>
                <a:latin typeface="Calibri" panose="020F0502020204030204" pitchFamily="34" charset="0"/>
              </a:rPr>
              <a:t>« La voiture reste majoritaire pour les déplacements domicile-travail, même pour de courtes distances. »</a:t>
            </a:r>
          </a:p>
        </p:txBody>
      </p:sp>
      <p:sp>
        <p:nvSpPr>
          <p:cNvPr id="17" name="ZoneTexte 16">
            <a:extLst>
              <a:ext uri="{FF2B5EF4-FFF2-40B4-BE49-F238E27FC236}">
                <a16:creationId xmlns:a16="http://schemas.microsoft.com/office/drawing/2014/main" id="{13296234-415B-4B05-AAE4-BDA80559309C}"/>
              </a:ext>
            </a:extLst>
          </p:cNvPr>
          <p:cNvSpPr txBox="1"/>
          <p:nvPr/>
        </p:nvSpPr>
        <p:spPr>
          <a:xfrm>
            <a:off x="483264" y="5441765"/>
            <a:ext cx="2874941" cy="369332"/>
          </a:xfrm>
          <a:prstGeom prst="rect">
            <a:avLst/>
          </a:prstGeom>
          <a:noFill/>
        </p:spPr>
        <p:txBody>
          <a:bodyPr wrap="square" rtlCol="0">
            <a:spAutoFit/>
          </a:bodyPr>
          <a:lstStyle/>
          <a:p>
            <a:pPr algn="ctr"/>
            <a:r>
              <a:rPr lang="fr-FR" sz="900">
                <a:solidFill>
                  <a:srgbClr val="004575"/>
                </a:solidFill>
              </a:rPr>
              <a:t>Figure - Mode de déplacement principal pour se rendre au travail selon la distance à parcourir</a:t>
            </a:r>
          </a:p>
        </p:txBody>
      </p:sp>
      <p:sp>
        <p:nvSpPr>
          <p:cNvPr id="26" name="Rectangle : coins arrondis 25">
            <a:extLst>
              <a:ext uri="{FF2B5EF4-FFF2-40B4-BE49-F238E27FC236}">
                <a16:creationId xmlns:a16="http://schemas.microsoft.com/office/drawing/2014/main" id="{3E135B3C-4C1A-46CA-B4B1-E1246DC64729}"/>
              </a:ext>
            </a:extLst>
          </p:cNvPr>
          <p:cNvSpPr/>
          <p:nvPr/>
        </p:nvSpPr>
        <p:spPr>
          <a:xfrm>
            <a:off x="7574100" y="1532438"/>
            <a:ext cx="4212000" cy="4536000"/>
          </a:xfrm>
          <a:prstGeom prst="roundRect">
            <a:avLst>
              <a:gd name="adj" fmla="val 2608"/>
            </a:avLst>
          </a:prstGeom>
          <a:noFill/>
          <a:ln>
            <a:solidFill>
              <a:srgbClr val="FF034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r>
              <a:rPr lang="fr-FR" sz="1200" b="1" dirty="0">
                <a:solidFill>
                  <a:srgbClr val="004575"/>
                </a:solidFill>
                <a:latin typeface="Calibri" panose="020F0502020204030204" pitchFamily="34" charset="0"/>
              </a:rPr>
              <a:t>Point de vue business</a:t>
            </a:r>
          </a:p>
          <a:p>
            <a:pPr algn="just"/>
            <a:r>
              <a:rPr lang="fr-FR" sz="1200" dirty="0">
                <a:solidFill>
                  <a:srgbClr val="385D8A"/>
                </a:solidFill>
                <a:latin typeface="Calibri" panose="020F0502020204030204" pitchFamily="34" charset="0"/>
              </a:rPr>
              <a:t>Support aux études de lignes de transport en commun en impliquant les différents acteurs publics (collectivités, entreprises de transports en commun…), privés (transports d’entreprise), ou la priorisation de la création d’infrastructure vélos / les zones prioritaires / l’attribution de plans d’aide à l’achat de vélos…</a:t>
            </a:r>
          </a:p>
          <a:p>
            <a:pPr algn="just"/>
            <a:endParaRPr lang="fr-FR" sz="1200" dirty="0">
              <a:solidFill>
                <a:srgbClr val="385D8A"/>
              </a:solidFill>
              <a:latin typeface="Calibri" panose="020F0502020204030204" pitchFamily="34" charset="0"/>
            </a:endParaRPr>
          </a:p>
          <a:p>
            <a:r>
              <a:rPr lang="fr-FR" sz="1200" b="1" dirty="0">
                <a:solidFill>
                  <a:srgbClr val="004575"/>
                </a:solidFill>
                <a:latin typeface="Calibri" panose="020F0502020204030204" pitchFamily="34" charset="0"/>
              </a:rPr>
              <a:t>Point de vue pédagogique</a:t>
            </a:r>
          </a:p>
          <a:p>
            <a:pPr marL="228600" indent="-228600" algn="just">
              <a:buAutoNum type="arabicPeriod"/>
            </a:pPr>
            <a:r>
              <a:rPr lang="fr-FR" sz="1200" dirty="0">
                <a:solidFill>
                  <a:srgbClr val="385D8A"/>
                </a:solidFill>
                <a:latin typeface="Calibri" panose="020F0502020204030204" pitchFamily="34" charset="0"/>
              </a:rPr>
              <a:t>Technique de pointe : Computer Vision et </a:t>
            </a:r>
            <a:r>
              <a:rPr lang="fr-FR" sz="1200" dirty="0" err="1">
                <a:solidFill>
                  <a:srgbClr val="385D8A"/>
                </a:solidFill>
                <a:latin typeface="Calibri" panose="020F0502020204030204" pitchFamily="34" charset="0"/>
              </a:rPr>
              <a:t>Feature</a:t>
            </a:r>
            <a:r>
              <a:rPr lang="fr-FR" sz="1200" dirty="0">
                <a:solidFill>
                  <a:srgbClr val="385D8A"/>
                </a:solidFill>
                <a:latin typeface="Calibri" panose="020F0502020204030204" pitchFamily="34" charset="0"/>
              </a:rPr>
              <a:t> Engineering</a:t>
            </a:r>
          </a:p>
          <a:p>
            <a:pPr marL="228600" indent="-228600" algn="just">
              <a:buAutoNum type="arabicPeriod"/>
            </a:pPr>
            <a:r>
              <a:rPr lang="fr-FR" sz="1200" dirty="0">
                <a:solidFill>
                  <a:srgbClr val="385D8A"/>
                </a:solidFill>
                <a:latin typeface="Calibri" panose="020F0502020204030204" pitchFamily="34" charset="0"/>
              </a:rPr>
              <a:t>Bonne pratique : code au format PEP8, réduction de l’empreinte carbone d’un modèle IA</a:t>
            </a:r>
          </a:p>
          <a:p>
            <a:pPr marL="228600" indent="-228600" algn="just">
              <a:buAutoNum type="arabicPeriod"/>
            </a:pPr>
            <a:r>
              <a:rPr lang="fr-FR" sz="1200" dirty="0">
                <a:solidFill>
                  <a:srgbClr val="385D8A"/>
                </a:solidFill>
                <a:latin typeface="Calibri" panose="020F0502020204030204" pitchFamily="34" charset="0"/>
              </a:rPr>
              <a:t>Gestion de projet IA : développer du code en communauté, découpage et modularité, sensibilisation à l’industrialisation</a:t>
            </a:r>
          </a:p>
          <a:p>
            <a:pPr marL="228600" indent="-228600" algn="just">
              <a:buAutoNum type="arabicPeriod"/>
            </a:pPr>
            <a:r>
              <a:rPr lang="fr-FR" sz="1200" dirty="0">
                <a:solidFill>
                  <a:srgbClr val="385D8A"/>
                </a:solidFill>
                <a:latin typeface="Calibri" panose="020F0502020204030204" pitchFamily="34" charset="0"/>
              </a:rPr>
              <a:t>Business : la technique au service du business, art du pitch au travers des idées de déploiement de l’algorithme</a:t>
            </a:r>
          </a:p>
          <a:p>
            <a:endParaRPr lang="fr-FR" sz="1200" b="1" dirty="0">
              <a:solidFill>
                <a:srgbClr val="004575"/>
              </a:solidFill>
              <a:latin typeface="Calibri" panose="020F0502020204030204" pitchFamily="34" charset="0"/>
            </a:endParaRPr>
          </a:p>
          <a:p>
            <a:r>
              <a:rPr lang="fr-FR" sz="1200" b="1" dirty="0">
                <a:solidFill>
                  <a:srgbClr val="004575"/>
                </a:solidFill>
                <a:latin typeface="Calibri" panose="020F0502020204030204" pitchFamily="34" charset="0"/>
              </a:rPr>
              <a:t>Livrables attendus :</a:t>
            </a:r>
            <a:endParaRPr lang="fr-FR" sz="1200" b="1" dirty="0">
              <a:latin typeface="Calibri" panose="020F0502020204030204" pitchFamily="34" charset="0"/>
            </a:endParaRPr>
          </a:p>
          <a:p>
            <a:pPr marL="171450" indent="-171450">
              <a:buFont typeface="Arial" panose="020B0604020202020204" pitchFamily="34" charset="0"/>
              <a:buChar char="•"/>
            </a:pPr>
            <a:r>
              <a:rPr lang="fr-FR" sz="1200" dirty="0">
                <a:solidFill>
                  <a:srgbClr val="385D8A"/>
                </a:solidFill>
                <a:latin typeface="Calibri" panose="020F0502020204030204" pitchFamily="34" charset="0"/>
              </a:rPr>
              <a:t>Résultat du modèle</a:t>
            </a:r>
          </a:p>
          <a:p>
            <a:pPr marL="171450" indent="-171450">
              <a:buFont typeface="Arial" panose="020B0604020202020204" pitchFamily="34" charset="0"/>
              <a:buChar char="•"/>
            </a:pPr>
            <a:r>
              <a:rPr lang="fr-FR" sz="1200" dirty="0">
                <a:solidFill>
                  <a:srgbClr val="385D8A"/>
                </a:solidFill>
                <a:latin typeface="Calibri" panose="020F0502020204030204" pitchFamily="34" charset="0"/>
              </a:rPr>
              <a:t>Dossier scientifique</a:t>
            </a:r>
          </a:p>
          <a:p>
            <a:pPr marL="628650" lvl="1" indent="-171450">
              <a:buFont typeface="Courier New" panose="02070309020205020404" pitchFamily="49" charset="0"/>
              <a:buChar char="o"/>
            </a:pPr>
            <a:r>
              <a:rPr lang="fr-FR" sz="1200" dirty="0">
                <a:solidFill>
                  <a:srgbClr val="385D8A"/>
                </a:solidFill>
                <a:latin typeface="Calibri" panose="020F0502020204030204" pitchFamily="34" charset="0"/>
              </a:rPr>
              <a:t>Justification de l’approche Data Science</a:t>
            </a:r>
          </a:p>
          <a:p>
            <a:pPr marL="628650" lvl="1" indent="-171450">
              <a:buFont typeface="Courier New" panose="02070309020205020404" pitchFamily="49" charset="0"/>
              <a:buChar char="o"/>
            </a:pPr>
            <a:r>
              <a:rPr lang="fr-FR" sz="1200" dirty="0">
                <a:solidFill>
                  <a:srgbClr val="385D8A"/>
                </a:solidFill>
                <a:latin typeface="Calibri" panose="020F0502020204030204" pitchFamily="34" charset="0"/>
              </a:rPr>
              <a:t>Best practice frugalité de la Data</a:t>
            </a:r>
          </a:p>
          <a:p>
            <a:pPr marL="171450" indent="-171450">
              <a:buFont typeface="Arial" panose="020B0604020202020204" pitchFamily="34" charset="0"/>
              <a:buChar char="•"/>
            </a:pPr>
            <a:r>
              <a:rPr lang="fr-FR" sz="1200" dirty="0">
                <a:solidFill>
                  <a:srgbClr val="385D8A"/>
                </a:solidFill>
                <a:latin typeface="Calibri" panose="020F0502020204030204" pitchFamily="34" charset="0"/>
              </a:rPr>
              <a:t>Pitch business</a:t>
            </a:r>
          </a:p>
        </p:txBody>
      </p:sp>
      <p:sp>
        <p:nvSpPr>
          <p:cNvPr id="28" name="ZoneTexte 27">
            <a:extLst>
              <a:ext uri="{FF2B5EF4-FFF2-40B4-BE49-F238E27FC236}">
                <a16:creationId xmlns:a16="http://schemas.microsoft.com/office/drawing/2014/main" id="{4D149489-4361-4ECB-8CC3-5B9CACB7D796}"/>
              </a:ext>
            </a:extLst>
          </p:cNvPr>
          <p:cNvSpPr txBox="1"/>
          <p:nvPr/>
        </p:nvSpPr>
        <p:spPr>
          <a:xfrm>
            <a:off x="8895689" y="1041545"/>
            <a:ext cx="1120820" cy="369332"/>
          </a:xfrm>
          <a:prstGeom prst="rect">
            <a:avLst/>
          </a:prstGeom>
          <a:noFill/>
        </p:spPr>
        <p:txBody>
          <a:bodyPr wrap="none" rtlCol="0">
            <a:spAutoFit/>
          </a:bodyPr>
          <a:lstStyle/>
          <a:p>
            <a:r>
              <a:rPr lang="fr-FR" b="1">
                <a:solidFill>
                  <a:srgbClr val="004575"/>
                </a:solidFill>
              </a:rPr>
              <a:t>Finalités</a:t>
            </a:r>
          </a:p>
        </p:txBody>
      </p:sp>
      <p:sp>
        <p:nvSpPr>
          <p:cNvPr id="22" name="ZoneTexte 21">
            <a:extLst>
              <a:ext uri="{FF2B5EF4-FFF2-40B4-BE49-F238E27FC236}">
                <a16:creationId xmlns:a16="http://schemas.microsoft.com/office/drawing/2014/main" id="{B39B3DE7-C491-4395-BBE9-2335B27481E1}"/>
              </a:ext>
            </a:extLst>
          </p:cNvPr>
          <p:cNvSpPr txBox="1"/>
          <p:nvPr/>
        </p:nvSpPr>
        <p:spPr>
          <a:xfrm>
            <a:off x="5278904" y="1002327"/>
            <a:ext cx="748923" cy="369332"/>
          </a:xfrm>
          <a:prstGeom prst="rect">
            <a:avLst/>
          </a:prstGeom>
          <a:noFill/>
        </p:spPr>
        <p:txBody>
          <a:bodyPr wrap="none" rtlCol="0">
            <a:spAutoFit/>
          </a:bodyPr>
          <a:lstStyle/>
          <a:p>
            <a:r>
              <a:rPr lang="fr-FR" b="1">
                <a:solidFill>
                  <a:srgbClr val="004575"/>
                </a:solidFill>
              </a:rPr>
              <a:t>Sujet</a:t>
            </a:r>
          </a:p>
        </p:txBody>
      </p:sp>
      <p:sp>
        <p:nvSpPr>
          <p:cNvPr id="23" name="ZoneTexte 22">
            <a:extLst>
              <a:ext uri="{FF2B5EF4-FFF2-40B4-BE49-F238E27FC236}">
                <a16:creationId xmlns:a16="http://schemas.microsoft.com/office/drawing/2014/main" id="{0B50C127-D9C0-480C-B1A3-027821B6B693}"/>
              </a:ext>
            </a:extLst>
          </p:cNvPr>
          <p:cNvSpPr txBox="1"/>
          <p:nvPr/>
        </p:nvSpPr>
        <p:spPr>
          <a:xfrm>
            <a:off x="3956949" y="1737320"/>
            <a:ext cx="3392834" cy="830997"/>
          </a:xfrm>
          <a:prstGeom prst="rect">
            <a:avLst/>
          </a:prstGeom>
          <a:noFill/>
        </p:spPr>
        <p:txBody>
          <a:bodyPr wrap="square" rtlCol="0">
            <a:spAutoFit/>
          </a:bodyPr>
          <a:lstStyle/>
          <a:p>
            <a:r>
              <a:rPr lang="fr-FR" sz="1200" b="1">
                <a:solidFill>
                  <a:srgbClr val="004575"/>
                </a:solidFill>
                <a:latin typeface="Calibri" panose="020F0502020204030204" pitchFamily="34" charset="0"/>
              </a:rPr>
              <a:t>Enoncé</a:t>
            </a:r>
            <a:r>
              <a:rPr lang="fr-FR" sz="1200" b="1">
                <a:latin typeface="Calibri" panose="020F0502020204030204" pitchFamily="34" charset="0"/>
              </a:rPr>
              <a:t> </a:t>
            </a:r>
          </a:p>
          <a:p>
            <a:endParaRPr lang="fr-FR" sz="1200">
              <a:latin typeface="Calibri" panose="020F0502020204030204" pitchFamily="34" charset="0"/>
            </a:endParaRPr>
          </a:p>
          <a:p>
            <a:pPr algn="ctr"/>
            <a:r>
              <a:rPr lang="fr-FR" sz="1200" i="1">
                <a:solidFill>
                  <a:srgbClr val="385D8A"/>
                </a:solidFill>
                <a:latin typeface="Calibri" panose="020F0502020204030204" pitchFamily="34" charset="0"/>
              </a:rPr>
              <a:t>« Dimensionnement de l'empreinte carbone du parc de voiture des employés d'une entreprise. »</a:t>
            </a:r>
          </a:p>
        </p:txBody>
      </p:sp>
      <p:sp>
        <p:nvSpPr>
          <p:cNvPr id="24" name="ZoneTexte 23">
            <a:extLst>
              <a:ext uri="{FF2B5EF4-FFF2-40B4-BE49-F238E27FC236}">
                <a16:creationId xmlns:a16="http://schemas.microsoft.com/office/drawing/2014/main" id="{D55FCBE4-8ED3-420D-83EF-1A1A54858548}"/>
              </a:ext>
            </a:extLst>
          </p:cNvPr>
          <p:cNvSpPr txBox="1"/>
          <p:nvPr/>
        </p:nvSpPr>
        <p:spPr>
          <a:xfrm>
            <a:off x="3956949" y="2705757"/>
            <a:ext cx="3392834" cy="1200329"/>
          </a:xfrm>
          <a:prstGeom prst="rect">
            <a:avLst/>
          </a:prstGeom>
          <a:noFill/>
        </p:spPr>
        <p:txBody>
          <a:bodyPr wrap="square" rtlCol="0">
            <a:spAutoFit/>
          </a:bodyPr>
          <a:lstStyle/>
          <a:p>
            <a:r>
              <a:rPr lang="fr-FR" sz="1200" b="1" dirty="0">
                <a:solidFill>
                  <a:srgbClr val="004575"/>
                </a:solidFill>
                <a:latin typeface="Calibri" panose="020F0502020204030204" pitchFamily="34" charset="0"/>
              </a:rPr>
              <a:t>Objectif</a:t>
            </a:r>
          </a:p>
          <a:p>
            <a:endParaRPr lang="fr-FR" sz="1200" dirty="0">
              <a:latin typeface="Calibri" panose="020F0502020204030204" pitchFamily="34" charset="0"/>
            </a:endParaRPr>
          </a:p>
          <a:p>
            <a:pPr algn="just"/>
            <a:r>
              <a:rPr lang="fr-FR" sz="1200" dirty="0">
                <a:solidFill>
                  <a:srgbClr val="385D8A"/>
                </a:solidFill>
                <a:latin typeface="Calibri" panose="020F0502020204030204" pitchFamily="34" charset="0"/>
              </a:rPr>
              <a:t>Réduire la portion « Voiture » du graphe est un projet complexe qui nécessite les forces convergentes des entreprises, des employés, des pouvoirs publics à l’échelle locale et nationale</a:t>
            </a:r>
            <a:r>
              <a:rPr lang="fr-FR" sz="1200" dirty="0">
                <a:latin typeface="Calibri" panose="020F0502020204030204" pitchFamily="34" charset="0"/>
              </a:rPr>
              <a:t>.</a:t>
            </a:r>
          </a:p>
        </p:txBody>
      </p:sp>
      <p:sp>
        <p:nvSpPr>
          <p:cNvPr id="25" name="ZoneTexte 24">
            <a:extLst>
              <a:ext uri="{FF2B5EF4-FFF2-40B4-BE49-F238E27FC236}">
                <a16:creationId xmlns:a16="http://schemas.microsoft.com/office/drawing/2014/main" id="{20DA4AD8-F60C-4B27-8BCB-27F80ECCEE9A}"/>
              </a:ext>
            </a:extLst>
          </p:cNvPr>
          <p:cNvSpPr txBox="1"/>
          <p:nvPr/>
        </p:nvSpPr>
        <p:spPr>
          <a:xfrm>
            <a:off x="3962523" y="4404478"/>
            <a:ext cx="3381686" cy="1015663"/>
          </a:xfrm>
          <a:prstGeom prst="rect">
            <a:avLst/>
          </a:prstGeom>
          <a:noFill/>
        </p:spPr>
        <p:txBody>
          <a:bodyPr wrap="square" rtlCol="0">
            <a:spAutoFit/>
          </a:bodyPr>
          <a:lstStyle/>
          <a:p>
            <a:r>
              <a:rPr lang="fr-FR" sz="1200" b="1" dirty="0">
                <a:solidFill>
                  <a:srgbClr val="004575"/>
                </a:solidFill>
                <a:latin typeface="Calibri" panose="020F0502020204030204" pitchFamily="34" charset="0"/>
              </a:rPr>
              <a:t>Données open source</a:t>
            </a:r>
          </a:p>
          <a:p>
            <a:endParaRPr lang="fr-FR" sz="1200" dirty="0">
              <a:latin typeface="Calibri" panose="020F0502020204030204" pitchFamily="34" charset="0"/>
            </a:endParaRPr>
          </a:p>
          <a:p>
            <a:pPr marL="171450" indent="-171450" algn="just">
              <a:buFont typeface="Arial" panose="020B0604020202020204" pitchFamily="34" charset="0"/>
              <a:buChar char="•"/>
            </a:pPr>
            <a:r>
              <a:rPr lang="fr-FR" sz="1200" dirty="0">
                <a:solidFill>
                  <a:srgbClr val="385D8A"/>
                </a:solidFill>
                <a:latin typeface="Calibri" panose="020F0502020204030204" pitchFamily="34" charset="0"/>
              </a:rPr>
              <a:t>Base de données d’images de voitures labélisées</a:t>
            </a:r>
          </a:p>
          <a:p>
            <a:pPr marL="171450" indent="-171450" algn="just">
              <a:buFont typeface="Arial" panose="020B0604020202020204" pitchFamily="34" charset="0"/>
              <a:buChar char="•"/>
            </a:pPr>
            <a:r>
              <a:rPr lang="fr-FR" sz="1200" dirty="0">
                <a:solidFill>
                  <a:srgbClr val="385D8A"/>
                </a:solidFill>
                <a:latin typeface="Calibri" panose="020F0502020204030204" pitchFamily="34" charset="0"/>
              </a:rPr>
              <a:t>Base de données des émissions carbone associées à chaque modèle de voiture</a:t>
            </a:r>
          </a:p>
        </p:txBody>
      </p:sp>
      <p:sp>
        <p:nvSpPr>
          <p:cNvPr id="34" name="Rectangle : coins arrondis 33">
            <a:extLst>
              <a:ext uri="{FF2B5EF4-FFF2-40B4-BE49-F238E27FC236}">
                <a16:creationId xmlns:a16="http://schemas.microsoft.com/office/drawing/2014/main" id="{C45D971A-F196-4936-A435-151B11EE9267}"/>
              </a:ext>
            </a:extLst>
          </p:cNvPr>
          <p:cNvSpPr/>
          <p:nvPr/>
        </p:nvSpPr>
        <p:spPr>
          <a:xfrm>
            <a:off x="3841468" y="1532438"/>
            <a:ext cx="3623796" cy="4536000"/>
          </a:xfrm>
          <a:prstGeom prst="roundRect">
            <a:avLst>
              <a:gd name="adj" fmla="val 4128"/>
            </a:avLst>
          </a:prstGeom>
          <a:noFill/>
          <a:ln>
            <a:solidFill>
              <a:srgbClr val="FF034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endParaRPr lang="fr-FR">
              <a:solidFill>
                <a:srgbClr val="FF034D"/>
              </a:solidFill>
            </a:endParaRPr>
          </a:p>
        </p:txBody>
      </p:sp>
      <p:pic>
        <p:nvPicPr>
          <p:cNvPr id="40" name="Graphique 39" descr="Drapeau de course avec un remplissage uni">
            <a:extLst>
              <a:ext uri="{FF2B5EF4-FFF2-40B4-BE49-F238E27FC236}">
                <a16:creationId xmlns:a16="http://schemas.microsoft.com/office/drawing/2014/main" id="{5B602A08-E6C7-46B9-A6C3-0ADA10BA3F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16509" y="956211"/>
            <a:ext cx="540000" cy="540000"/>
          </a:xfrm>
          <a:prstGeom prst="rect">
            <a:avLst/>
          </a:prstGeom>
        </p:spPr>
      </p:pic>
      <p:pic>
        <p:nvPicPr>
          <p:cNvPr id="42" name="Graphique 41" descr="Conduite interdite avec un remplissage uni">
            <a:extLst>
              <a:ext uri="{FF2B5EF4-FFF2-40B4-BE49-F238E27FC236}">
                <a16:creationId xmlns:a16="http://schemas.microsoft.com/office/drawing/2014/main" id="{5F339A13-B325-4217-9D1E-A7D152C63B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66570" y="956211"/>
            <a:ext cx="540000" cy="540000"/>
          </a:xfrm>
          <a:prstGeom prst="rect">
            <a:avLst/>
          </a:prstGeom>
        </p:spPr>
      </p:pic>
      <p:pic>
        <p:nvPicPr>
          <p:cNvPr id="46" name="Graphique 45" descr="Tête avec engrenages avec un remplissage uni">
            <a:extLst>
              <a:ext uri="{FF2B5EF4-FFF2-40B4-BE49-F238E27FC236}">
                <a16:creationId xmlns:a16="http://schemas.microsoft.com/office/drawing/2014/main" id="{17099E83-6A24-418A-B329-A1FC546722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7827" y="916993"/>
            <a:ext cx="540000" cy="540000"/>
          </a:xfrm>
          <a:prstGeom prst="rect">
            <a:avLst/>
          </a:prstGeom>
        </p:spPr>
      </p:pic>
    </p:spTree>
    <p:extLst>
      <p:ext uri="{BB962C8B-B14F-4D97-AF65-F5344CB8AC3E}">
        <p14:creationId xmlns:p14="http://schemas.microsoft.com/office/powerpoint/2010/main" val="3919235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054F015-AA7D-439A-B2F5-C0BDDA7D93A1}"/>
              </a:ext>
            </a:extLst>
          </p:cNvPr>
          <p:cNvGrpSpPr/>
          <p:nvPr/>
        </p:nvGrpSpPr>
        <p:grpSpPr>
          <a:xfrm>
            <a:off x="0" y="-101749"/>
            <a:ext cx="12192000" cy="6959749"/>
            <a:chOff x="0" y="-101749"/>
            <a:chExt cx="12192000" cy="6959749"/>
          </a:xfrm>
        </p:grpSpPr>
        <p:sp>
          <p:nvSpPr>
            <p:cNvPr id="9" name="Rectangle 8">
              <a:extLst>
                <a:ext uri="{FF2B5EF4-FFF2-40B4-BE49-F238E27FC236}">
                  <a16:creationId xmlns:a16="http://schemas.microsoft.com/office/drawing/2014/main" id="{FE465DC0-0AE6-4084-A721-039B950BBCD7}"/>
                </a:ext>
              </a:extLst>
            </p:cNvPr>
            <p:cNvSpPr/>
            <p:nvPr/>
          </p:nvSpPr>
          <p:spPr>
            <a:xfrm>
              <a:off x="0" y="0"/>
              <a:ext cx="12191999" cy="6858000"/>
            </a:xfrm>
            <a:prstGeom prst="rect">
              <a:avLst/>
            </a:prstGeom>
            <a:solidFill>
              <a:srgbClr val="0045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l"/>
              <a:endParaRPr lang="fr-FR">
                <a:solidFill>
                  <a:srgbClr val="004575"/>
                </a:solidFill>
              </a:endParaRPr>
            </a:p>
          </p:txBody>
        </p:sp>
        <p:pic>
          <p:nvPicPr>
            <p:cNvPr id="2" name="Picture Placeholder 6" descr="A picture containing outdoor, green, tower&#10;&#10;Description automatically generated">
              <a:extLst>
                <a:ext uri="{FF2B5EF4-FFF2-40B4-BE49-F238E27FC236}">
                  <a16:creationId xmlns:a16="http://schemas.microsoft.com/office/drawing/2014/main" id="{9644BA3F-6BA8-4ED7-938D-CAAD81AFB75E}"/>
                </a:ext>
              </a:extLst>
            </p:cNvPr>
            <p:cNvPicPr>
              <a:picLocks noChangeAspect="1"/>
            </p:cNvPicPr>
            <p:nvPr/>
          </p:nvPicPr>
          <p:blipFill rotWithShape="1">
            <a:blip r:embed="rId3">
              <a:extLst>
                <a:ext uri="{28A0092B-C50C-407E-A947-70E740481C1C}">
                  <a14:useLocalDpi xmlns:a14="http://schemas.microsoft.com/office/drawing/2010/main" val="0"/>
                </a:ext>
              </a:extLst>
            </a:blip>
            <a:srcRect l="11622" r="16870"/>
            <a:stretch/>
          </p:blipFill>
          <p:spPr>
            <a:xfrm>
              <a:off x="7784734" y="0"/>
              <a:ext cx="4407266" cy="6858000"/>
            </a:xfrm>
            <a:prstGeom prst="rect">
              <a:avLst/>
            </a:prstGeom>
          </p:spPr>
        </p:pic>
        <p:sp>
          <p:nvSpPr>
            <p:cNvPr id="7" name="Title 1">
              <a:extLst>
                <a:ext uri="{FF2B5EF4-FFF2-40B4-BE49-F238E27FC236}">
                  <a16:creationId xmlns:a16="http://schemas.microsoft.com/office/drawing/2014/main" id="{97B9017D-0426-439E-BF1D-839B41492947}"/>
                </a:ext>
              </a:extLst>
            </p:cNvPr>
            <p:cNvSpPr txBox="1">
              <a:spLocks/>
            </p:cNvSpPr>
            <p:nvPr/>
          </p:nvSpPr>
          <p:spPr>
            <a:xfrm>
              <a:off x="719274" y="-101749"/>
              <a:ext cx="10972800" cy="865739"/>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sz="26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3A70"/>
                </a:buClr>
                <a:buSzPts val="2000"/>
                <a:buFont typeface="Arial"/>
                <a:buNone/>
                <a:tabLst/>
                <a:defRPr/>
              </a:pPr>
              <a:r>
                <a:rPr kumimoji="0" lang="en-US" sz="2667" b="0" i="0" u="none" strike="noStrike" kern="0" cap="none" spc="0" normalizeH="0" baseline="0" noProof="0" dirty="0">
                  <a:ln>
                    <a:noFill/>
                  </a:ln>
                  <a:solidFill>
                    <a:schemeClr val="bg1"/>
                  </a:solidFill>
                  <a:effectLst/>
                  <a:uLnTx/>
                  <a:uFillTx/>
                  <a:latin typeface="Arial"/>
                  <a:cs typeface="Arial"/>
                  <a:sym typeface="Arial"/>
                </a:rPr>
                <a:t>Agenda</a:t>
              </a:r>
              <a:endParaRPr kumimoji="0" lang="fr-FR" sz="2667" b="0" i="0" u="none" strike="noStrike" kern="0" cap="none" spc="0" normalizeH="0" baseline="0" noProof="0" dirty="0">
                <a:ln>
                  <a:noFill/>
                </a:ln>
                <a:solidFill>
                  <a:schemeClr val="bg1"/>
                </a:solidFill>
                <a:effectLst/>
                <a:uLnTx/>
                <a:uFillTx/>
                <a:latin typeface="Arial"/>
                <a:cs typeface="Arial"/>
                <a:sym typeface="Arial"/>
              </a:endParaRPr>
            </a:p>
          </p:txBody>
        </p:sp>
        <p:sp>
          <p:nvSpPr>
            <p:cNvPr id="8" name="Text Placeholder 2">
              <a:extLst>
                <a:ext uri="{FF2B5EF4-FFF2-40B4-BE49-F238E27FC236}">
                  <a16:creationId xmlns:a16="http://schemas.microsoft.com/office/drawing/2014/main" id="{3C0BE979-B0BF-477E-8C4A-17FB5793C8F7}"/>
                </a:ext>
              </a:extLst>
            </p:cNvPr>
            <p:cNvSpPr txBox="1">
              <a:spLocks/>
            </p:cNvSpPr>
            <p:nvPr/>
          </p:nvSpPr>
          <p:spPr>
            <a:xfrm>
              <a:off x="330825" y="1059366"/>
              <a:ext cx="6869635" cy="5051503"/>
            </a:xfrm>
            <a:prstGeom prst="rect">
              <a:avLst/>
            </a:prstGeom>
            <a:noFill/>
          </p:spPr>
          <p:txBody>
            <a:bodyPr vert="horz" lIns="91440" tIns="45720" rIns="91440" bIns="45720" rtlCol="0" anchor="ctr">
              <a:noAutofit/>
            </a:bodyPr>
            <a:lstStyle>
              <a:defPPr marR="0" lvl="0" algn="l" rtl="0">
                <a:lnSpc>
                  <a:spcPct val="100000"/>
                </a:lnSpc>
                <a:spcBef>
                  <a:spcPts val="0"/>
                </a:spcBef>
                <a:spcAft>
                  <a:spcPts val="0"/>
                </a:spcAft>
              </a:defPPr>
              <a:lvl1pPr marL="702716" marR="0" lvl="0" indent="-533387" algn="l" rtl="0" eaLnBrk="1" hangingPunct="1">
                <a:lnSpc>
                  <a:spcPct val="100000"/>
                </a:lnSpc>
                <a:spcBef>
                  <a:spcPts val="1600"/>
                </a:spcBef>
                <a:spcAft>
                  <a:spcPts val="0"/>
                </a:spcAft>
                <a:buClr>
                  <a:srgbClr val="FF004D"/>
                </a:buClr>
                <a:buSzPct val="150000"/>
                <a:buFont typeface="+mj-lt"/>
                <a:buAutoNum type="romanUcPeriod"/>
                <a:defRPr lang="en-US" sz="2133" b="1" i="0" u="none" strike="noStrike" cap="none" spc="-27" baseline="0">
                  <a:solidFill>
                    <a:schemeClr val="tx1"/>
                  </a:solidFill>
                  <a:latin typeface="Arial"/>
                  <a:ea typeface="Arial"/>
                  <a:cs typeface="Arial"/>
                  <a:sym typeface="Arial"/>
                </a:defRPr>
              </a:lvl1pPr>
              <a:lvl2pPr marL="1312301" marR="0" lvl="1" indent="-533387" algn="l" rtl="0" eaLnBrk="1" hangingPunct="1">
                <a:lnSpc>
                  <a:spcPct val="100000"/>
                </a:lnSpc>
                <a:spcBef>
                  <a:spcPts val="0"/>
                </a:spcBef>
                <a:spcAft>
                  <a:spcPts val="0"/>
                </a:spcAft>
                <a:buClr>
                  <a:srgbClr val="FF004D"/>
                </a:buClr>
                <a:buFont typeface="+mj-lt"/>
                <a:buAutoNum type="alphaLcPeriod"/>
                <a:defRPr lang="en-US" sz="1867" b="1" i="0" u="none" strike="noStrike" cap="none" dirty="0" smtClean="0">
                  <a:solidFill>
                    <a:schemeClr val="tx1"/>
                  </a:solidFill>
                  <a:latin typeface="Arial"/>
                  <a:ea typeface="Arial"/>
                  <a:cs typeface="Arial"/>
                  <a:sym typeface="Arial"/>
                </a:defRPr>
              </a:lvl2pPr>
              <a:lvl3pPr marL="1921885" marR="0" lvl="2"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3pPr>
              <a:lvl4pPr marL="2531470" marR="0" lvl="3" indent="-533387" algn="l" rtl="0" eaLnBrk="1" hangingPunct="1">
                <a:lnSpc>
                  <a:spcPct val="100000"/>
                </a:lnSpc>
                <a:spcBef>
                  <a:spcPts val="0"/>
                </a:spcBef>
                <a:spcAft>
                  <a:spcPts val="0"/>
                </a:spcAft>
                <a:buClr>
                  <a:srgbClr val="000000"/>
                </a:buClr>
                <a:buFont typeface="+mj-lt"/>
                <a:buAutoNum type="romanUcPeriod"/>
                <a:defRPr lang="en-US" sz="1867" b="0" i="0" u="none" strike="noStrike" cap="none">
                  <a:solidFill>
                    <a:srgbClr val="000000"/>
                  </a:solidFill>
                  <a:latin typeface="Arial"/>
                  <a:ea typeface="Arial"/>
                  <a:cs typeface="Arial"/>
                  <a:sym typeface="Arial"/>
                </a:defRPr>
              </a:lvl4pPr>
              <a:lvl5pPr marL="3141055" marR="0" lvl="4" indent="-533387" algn="l" rtl="0" eaLnBrk="1" hangingPunct="1">
                <a:lnSpc>
                  <a:spcPct val="100000"/>
                </a:lnSpc>
                <a:spcBef>
                  <a:spcPts val="0"/>
                </a:spcBef>
                <a:spcAft>
                  <a:spcPts val="0"/>
                </a:spcAft>
                <a:buClr>
                  <a:srgbClr val="000000"/>
                </a:buClr>
                <a:buFont typeface="+mj-lt"/>
                <a:buAutoNum type="romanUcPeriod"/>
                <a:defRPr lang="fr-F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L="0" marR="0" lvl="8" indent="0" algn="l" rtl="0" eaLnBrk="1" hangingPunct="1">
                <a:lnSpc>
                  <a:spcPct val="10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9pPr>
            </a:lstStyle>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120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Présentation</a:t>
              </a:r>
              <a:r>
                <a:rPr kumimoji="0" lang="en-US" sz="2400" b="1" i="0" u="none" strike="noStrike" kern="1200" cap="none" spc="250" normalizeH="0" baseline="0" noProof="0" dirty="0">
                  <a:ln>
                    <a:noFill/>
                  </a:ln>
                  <a:solidFill>
                    <a:schemeClr val="bg1"/>
                  </a:solidFill>
                  <a:effectLst/>
                  <a:uLnTx/>
                  <a:uFillTx/>
                  <a:latin typeface="Nunito" pitchFamily="2" charset="0"/>
                  <a:ea typeface="Verdana" panose="020B0604030504040204" pitchFamily="34" charset="0"/>
                  <a:sym typeface="Arial"/>
                </a:rPr>
                <a:t> de  Hi! PARIS</a:t>
              </a:r>
            </a:p>
            <a:p>
              <a:pPr marL="702716" marR="0" lvl="0" indent="-533387" algn="l" defTabSz="914400" rtl="0" eaLnBrk="1" fontAlgn="auto" latinLnBrk="0" hangingPunct="1">
                <a:lnSpc>
                  <a:spcPct val="100000"/>
                </a:lnSpc>
                <a:spcBef>
                  <a:spcPts val="1600"/>
                </a:spcBef>
                <a:spcAft>
                  <a:spcPts val="0"/>
                </a:spcAft>
                <a:buClr>
                  <a:srgbClr val="FF004D"/>
                </a:buClr>
                <a:buSzPct val="150000"/>
                <a:buFont typeface="+mj-lt"/>
                <a:buAutoNum type="romanUcPeriod"/>
                <a:tabLst/>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Le </a:t>
              </a:r>
              <a:r>
                <a:rPr kumimoji="0" lang="en-US" sz="2400" b="1" i="0" u="none" strike="noStrike" kern="0" cap="none" spc="250" normalizeH="0" baseline="0" noProof="0" dirty="0" err="1">
                  <a:ln>
                    <a:noFill/>
                  </a:ln>
                  <a:solidFill>
                    <a:schemeClr val="bg1"/>
                  </a:solidFill>
                  <a:effectLst/>
                  <a:uLnTx/>
                  <a:uFillTx/>
                  <a:latin typeface="Nunito" pitchFamily="2" charset="0"/>
                  <a:ea typeface="Verdana" panose="020B0604030504040204" pitchFamily="34" charset="0"/>
                  <a:sym typeface="Arial"/>
                </a:rPr>
                <a:t>Hi!ckathon</a:t>
              </a: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 n°2 de Hi! PARIS</a:t>
              </a:r>
            </a:p>
            <a:p>
              <a:pPr lvl="1">
                <a:defRPr/>
              </a:pPr>
              <a:r>
                <a:rPr lang="en-US" sz="2000" kern="0" spc="250" dirty="0" err="1">
                  <a:solidFill>
                    <a:schemeClr val="bg1"/>
                  </a:solidFill>
                  <a:latin typeface="Nunito" pitchFamily="2" charset="0"/>
                  <a:ea typeface="Verdana" panose="020B0604030504040204" pitchFamily="34" charset="0"/>
                </a:rPr>
                <a:t>Présentation</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taillée</a:t>
              </a:r>
              <a:r>
                <a:rPr lang="en-US" sz="2000" kern="0" spc="250" dirty="0">
                  <a:solidFill>
                    <a:schemeClr val="bg1"/>
                  </a:solidFill>
                  <a:latin typeface="Nunito" pitchFamily="2" charset="0"/>
                  <a:ea typeface="Verdana" panose="020B0604030504040204" pitchFamily="34" charset="0"/>
                </a:rPr>
                <a:t> du </a:t>
              </a:r>
              <a:r>
                <a:rPr lang="en-US" sz="2000" kern="0" spc="250" dirty="0" err="1">
                  <a:solidFill>
                    <a:schemeClr val="bg1"/>
                  </a:solidFill>
                  <a:latin typeface="Nunito" pitchFamily="2" charset="0"/>
                  <a:ea typeface="Verdana" panose="020B0604030504040204" pitchFamily="34" charset="0"/>
                </a:rPr>
                <a:t>sujet</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Zoom sur la </a:t>
              </a:r>
              <a:r>
                <a:rPr lang="en-US" sz="2000" kern="0" spc="250" dirty="0" err="1">
                  <a:solidFill>
                    <a:schemeClr val="bg1"/>
                  </a:solidFill>
                  <a:latin typeface="Nunito" pitchFamily="2" charset="0"/>
                  <a:ea typeface="Verdana" panose="020B0604030504040204" pitchFamily="34" charset="0"/>
                </a:rPr>
                <a:t>donnée</a:t>
              </a:r>
              <a:endParaRPr kumimoji="0" lang="en-US" sz="20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endParaRPr>
            </a:p>
            <a:p>
              <a:pPr lvl="1">
                <a:defRPr/>
              </a:pPr>
              <a:r>
                <a:rPr lang="en-US" sz="2000" kern="0" spc="250" dirty="0" err="1">
                  <a:solidFill>
                    <a:schemeClr val="bg1"/>
                  </a:solidFill>
                  <a:latin typeface="Nunito" pitchFamily="2" charset="0"/>
                  <a:ea typeface="Verdana" panose="020B0604030504040204" pitchFamily="34" charset="0"/>
                </a:rPr>
                <a:t>Métrique</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d'évaluation</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Notre démarche</a:t>
              </a:r>
            </a:p>
            <a:p>
              <a:pPr lvl="1">
                <a:defRPr/>
              </a:pPr>
              <a:r>
                <a:rPr lang="en-US" sz="2000" kern="0" spc="250" dirty="0">
                  <a:solidFill>
                    <a:schemeClr val="bg1"/>
                  </a:solidFill>
                  <a:latin typeface="Nunito" pitchFamily="2" charset="0"/>
                  <a:ea typeface="Verdana" panose="020B0604030504040204" pitchFamily="34" charset="0"/>
                </a:rPr>
                <a:t>Prix et </a:t>
              </a:r>
              <a:r>
                <a:rPr lang="en-US" sz="2000" kern="0" spc="250" dirty="0" err="1">
                  <a:solidFill>
                    <a:schemeClr val="bg1"/>
                  </a:solidFill>
                  <a:latin typeface="Nunito" pitchFamily="2" charset="0"/>
                  <a:ea typeface="Verdana" panose="020B0604030504040204" pitchFamily="34" charset="0"/>
                </a:rPr>
                <a:t>livrables</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a:solidFill>
                    <a:schemeClr val="bg1"/>
                  </a:solidFill>
                  <a:latin typeface="Nunito" pitchFamily="2" charset="0"/>
                  <a:ea typeface="Verdana" panose="020B0604030504040204" pitchFamily="34" charset="0"/>
                </a:rPr>
                <a:t>Composition des </a:t>
              </a:r>
              <a:r>
                <a:rPr lang="en-US" sz="2000" kern="0" spc="250" dirty="0" err="1">
                  <a:solidFill>
                    <a:schemeClr val="bg1"/>
                  </a:solidFill>
                  <a:latin typeface="Nunito" pitchFamily="2" charset="0"/>
                  <a:ea typeface="Verdana" panose="020B0604030504040204" pitchFamily="34" charset="0"/>
                </a:rPr>
                <a:t>équipes</a:t>
              </a:r>
              <a:endParaRPr lang="en-US" sz="2000" kern="0" spc="250" dirty="0">
                <a:solidFill>
                  <a:schemeClr val="bg1"/>
                </a:solidFill>
                <a:latin typeface="Nunito" pitchFamily="2" charset="0"/>
                <a:ea typeface="Verdana" panose="020B0604030504040204" pitchFamily="34" charset="0"/>
              </a:endParaRPr>
            </a:p>
            <a:p>
              <a:pPr>
                <a:defRPr/>
              </a:pPr>
              <a:r>
                <a:rPr kumimoji="0" lang="en-US" sz="2400" b="1" i="0" u="none" strike="noStrike" kern="0" cap="none" spc="250" normalizeH="0" baseline="0" noProof="0" dirty="0">
                  <a:ln>
                    <a:noFill/>
                  </a:ln>
                  <a:solidFill>
                    <a:schemeClr val="bg1"/>
                  </a:solidFill>
                  <a:effectLst/>
                  <a:uLnTx/>
                  <a:uFillTx/>
                  <a:latin typeface="Nunito" pitchFamily="2" charset="0"/>
                  <a:ea typeface="Verdana" panose="020B0604030504040204" pitchFamily="34" charset="0"/>
                  <a:sym typeface="Arial"/>
                </a:rPr>
                <a:t>Digital tools presentation</a:t>
              </a:r>
            </a:p>
            <a:p>
              <a:pPr lvl="1">
                <a:defRPr/>
              </a:pPr>
              <a:r>
                <a:rPr lang="en-US" sz="2000" kern="0" spc="250" dirty="0" err="1">
                  <a:solidFill>
                    <a:schemeClr val="bg1"/>
                  </a:solidFill>
                  <a:latin typeface="Nunito" pitchFamily="2" charset="0"/>
                  <a:ea typeface="Verdana" panose="020B0604030504040204" pitchFamily="34" charset="0"/>
                </a:rPr>
                <a:t>Logistique</a:t>
              </a:r>
              <a:endParaRPr lang="en-US" sz="2000" kern="0" spc="250" dirty="0">
                <a:solidFill>
                  <a:schemeClr val="bg1"/>
                </a:solidFill>
                <a:latin typeface="Nunito" pitchFamily="2" charset="0"/>
                <a:ea typeface="Verdana" panose="020B0604030504040204" pitchFamily="34" charset="0"/>
              </a:endParaRPr>
            </a:p>
            <a:p>
              <a:pPr lvl="1">
                <a:defRPr/>
              </a:pPr>
              <a:r>
                <a:rPr lang="en-US" sz="2000" kern="0" spc="250" dirty="0" err="1">
                  <a:solidFill>
                    <a:schemeClr val="bg1"/>
                  </a:solidFill>
                  <a:latin typeface="Nunito" pitchFamily="2" charset="0"/>
                  <a:ea typeface="Verdana" panose="020B0604030504040204" pitchFamily="34" charset="0"/>
                </a:rPr>
                <a:t>Outils</a:t>
              </a:r>
              <a:r>
                <a:rPr lang="en-US" sz="2000" kern="0" spc="250" dirty="0">
                  <a:solidFill>
                    <a:schemeClr val="bg1"/>
                  </a:solidFill>
                  <a:latin typeface="Nunito" pitchFamily="2" charset="0"/>
                  <a:ea typeface="Verdana" panose="020B0604030504040204" pitchFamily="34" charset="0"/>
                </a:rPr>
                <a:t> </a:t>
              </a:r>
              <a:r>
                <a:rPr lang="en-US" sz="2000" kern="0" spc="250" dirty="0" err="1">
                  <a:solidFill>
                    <a:schemeClr val="bg1"/>
                  </a:solidFill>
                  <a:latin typeface="Nunito" pitchFamily="2" charset="0"/>
                  <a:ea typeface="Verdana" panose="020B0604030504040204" pitchFamily="34" charset="0"/>
                </a:rPr>
                <a:t>utilisés</a:t>
              </a:r>
              <a:endParaRPr lang="en-US" sz="2000" kern="0" spc="250" dirty="0">
                <a:solidFill>
                  <a:schemeClr val="bg1"/>
                </a:solidFill>
                <a:latin typeface="Nunito" pitchFamily="2" charset="0"/>
                <a:ea typeface="Verdana" panose="020B0604030504040204" pitchFamily="34" charset="0"/>
              </a:endParaRPr>
            </a:p>
            <a:p>
              <a:pPr>
                <a:defRPr/>
              </a:pPr>
              <a:r>
                <a:rPr lang="en-US" sz="2400" kern="0" spc="250" dirty="0" err="1">
                  <a:solidFill>
                    <a:schemeClr val="bg1"/>
                  </a:solidFill>
                  <a:latin typeface="Nunito" pitchFamily="2" charset="0"/>
                  <a:ea typeface="Verdana" panose="020B0604030504040204" pitchFamily="34" charset="0"/>
                </a:rPr>
                <a:t>Votr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rôle</a:t>
              </a:r>
              <a:r>
                <a:rPr lang="en-US" sz="2400" kern="0" spc="250" dirty="0">
                  <a:solidFill>
                    <a:schemeClr val="bg1"/>
                  </a:solidFill>
                  <a:latin typeface="Nunito" pitchFamily="2" charset="0"/>
                  <a:ea typeface="Verdana" panose="020B0604030504040204" pitchFamily="34" charset="0"/>
                </a:rPr>
                <a:t> </a:t>
              </a:r>
              <a:r>
                <a:rPr lang="en-US" sz="2400" kern="0" spc="250" dirty="0" err="1">
                  <a:solidFill>
                    <a:schemeClr val="bg1"/>
                  </a:solidFill>
                  <a:latin typeface="Nunito" pitchFamily="2" charset="0"/>
                  <a:ea typeface="Verdana" panose="020B0604030504040204" pitchFamily="34" charset="0"/>
                </a:rPr>
                <a:t>en</a:t>
              </a:r>
              <a:r>
                <a:rPr lang="en-US" sz="2400" kern="0" spc="250" dirty="0">
                  <a:solidFill>
                    <a:schemeClr val="bg1"/>
                  </a:solidFill>
                  <a:latin typeface="Nunito" pitchFamily="2" charset="0"/>
                  <a:ea typeface="Verdana" panose="020B0604030504040204" pitchFamily="34" charset="0"/>
                </a:rPr>
                <a:t> tant que coach</a:t>
              </a:r>
            </a:p>
          </p:txBody>
        </p:sp>
      </p:grpSp>
      <p:sp>
        <p:nvSpPr>
          <p:cNvPr id="11" name="Rectangle: Rounded Corners 10">
            <a:extLst>
              <a:ext uri="{FF2B5EF4-FFF2-40B4-BE49-F238E27FC236}">
                <a16:creationId xmlns:a16="http://schemas.microsoft.com/office/drawing/2014/main" id="{0DD5092F-AA96-9345-9B21-03339BCCE837}"/>
              </a:ext>
            </a:extLst>
          </p:cNvPr>
          <p:cNvSpPr/>
          <p:nvPr/>
        </p:nvSpPr>
        <p:spPr>
          <a:xfrm>
            <a:off x="1714061" y="2561056"/>
            <a:ext cx="4920916" cy="312235"/>
          </a:xfrm>
          <a:prstGeom prst="roundRect">
            <a:avLst/>
          </a:prstGeom>
          <a:solidFill>
            <a:srgbClr val="FFFFFF">
              <a:alpha val="32000"/>
            </a:srgbClr>
          </a:solidFill>
          <a:ln w="25400" cap="flat" cmpd="sng" algn="ctr">
            <a:noFill/>
            <a:prstDash val="solid"/>
          </a:ln>
          <a:effectLst/>
        </p:spPr>
        <p:txBody>
          <a:bodyPr rot="0" spcFirstLastPara="0" vertOverflow="overflow" horzOverflow="overflow" vert="horz" wrap="square" lIns="96000" tIns="60960" rIns="96000" bIns="6096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lang="fr-FR" sz="1867" b="0" i="0" u="none" strike="noStrike" kern="0" cap="none" spc="0" normalizeH="0" baseline="0" noProof="0" dirty="0">
              <a:ln>
                <a:noFill/>
              </a:ln>
              <a:solidFill>
                <a:srgbClr val="004575"/>
              </a:solidFill>
              <a:effectLst/>
              <a:uLnTx/>
              <a:uFillTx/>
              <a:latin typeface="Calibri Light" panose="020F0302020204030204" pitchFamily="34" charset="0"/>
              <a:ea typeface="+mn-ea"/>
              <a:cs typeface="+mn-cs"/>
              <a:sym typeface="Arial"/>
            </a:endParaRPr>
          </a:p>
        </p:txBody>
      </p:sp>
    </p:spTree>
    <p:extLst>
      <p:ext uri="{BB962C8B-B14F-4D97-AF65-F5344CB8AC3E}">
        <p14:creationId xmlns:p14="http://schemas.microsoft.com/office/powerpoint/2010/main" val="1555573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 name="Titre 1"/>
          <p:cNvSpPr txBox="1">
            <a:spLocks noGrp="1"/>
          </p:cNvSpPr>
          <p:nvPr>
            <p:ph type="title"/>
          </p:nvPr>
        </p:nvSpPr>
        <p:spPr>
          <a:prstGeom prst="rect">
            <a:avLst/>
          </a:prstGeom>
        </p:spPr>
        <p:txBody>
          <a:bodyPr anchor="ctr"/>
          <a:lstStyle>
            <a:lvl1pPr algn="l">
              <a:defRPr sz="2000"/>
            </a:lvl1pPr>
          </a:lstStyle>
          <a:p>
            <a:r>
              <a:rPr lang="en-US" sz="2400" dirty="0">
                <a:latin typeface="Arial" panose="020B0604020202020204" pitchFamily="34" charset="0"/>
                <a:cs typeface="Arial" panose="020B0604020202020204" pitchFamily="34" charset="0"/>
              </a:rPr>
              <a:t>Focus sur la </a:t>
            </a:r>
            <a:r>
              <a:rPr lang="en-US" sz="2400" dirty="0" err="1">
                <a:latin typeface="Arial" panose="020B0604020202020204" pitchFamily="34" charset="0"/>
                <a:cs typeface="Arial" panose="020B0604020202020204" pitchFamily="34" charset="0"/>
              </a:rPr>
              <a:t>donnée</a:t>
            </a:r>
            <a:endParaRPr lang="en-US" sz="2400" dirty="0">
              <a:latin typeface="Arial" panose="020B0604020202020204" pitchFamily="34" charset="0"/>
              <a:cs typeface="Arial" panose="020B0604020202020204" pitchFamily="34" charset="0"/>
            </a:endParaRPr>
          </a:p>
        </p:txBody>
      </p:sp>
      <p:sp>
        <p:nvSpPr>
          <p:cNvPr id="10" name="ZoneTexte 9">
            <a:extLst>
              <a:ext uri="{FF2B5EF4-FFF2-40B4-BE49-F238E27FC236}">
                <a16:creationId xmlns:a16="http://schemas.microsoft.com/office/drawing/2014/main" id="{4BDD7302-2B74-B34A-926E-C0E0C37D67B5}"/>
              </a:ext>
            </a:extLst>
          </p:cNvPr>
          <p:cNvSpPr txBox="1"/>
          <p:nvPr/>
        </p:nvSpPr>
        <p:spPr>
          <a:xfrm>
            <a:off x="6749716" y="6460958"/>
            <a:ext cx="184731" cy="369332"/>
          </a:xfrm>
          <a:prstGeom prst="rect">
            <a:avLst/>
          </a:prstGeom>
          <a:noFill/>
        </p:spPr>
        <p:txBody>
          <a:bodyPr wrap="none" rtlCol="0">
            <a:spAutoFit/>
          </a:bodyPr>
          <a:lstStyle/>
          <a:p>
            <a:endParaRPr lang="fr-FR" dirty="0"/>
          </a:p>
        </p:txBody>
      </p:sp>
      <p:grpSp>
        <p:nvGrpSpPr>
          <p:cNvPr id="100" name="Groupe 99">
            <a:extLst>
              <a:ext uri="{FF2B5EF4-FFF2-40B4-BE49-F238E27FC236}">
                <a16:creationId xmlns:a16="http://schemas.microsoft.com/office/drawing/2014/main" id="{3BAF633B-C864-284D-A845-25E628C48E7E}"/>
              </a:ext>
            </a:extLst>
          </p:cNvPr>
          <p:cNvGrpSpPr/>
          <p:nvPr/>
        </p:nvGrpSpPr>
        <p:grpSpPr>
          <a:xfrm>
            <a:off x="343365" y="4649900"/>
            <a:ext cx="3856781" cy="1580769"/>
            <a:chOff x="2106004" y="4166133"/>
            <a:chExt cx="3989995" cy="1974351"/>
          </a:xfrm>
        </p:grpSpPr>
        <p:cxnSp>
          <p:nvCxnSpPr>
            <p:cNvPr id="101" name="Conector reto 49">
              <a:extLst>
                <a:ext uri="{FF2B5EF4-FFF2-40B4-BE49-F238E27FC236}">
                  <a16:creationId xmlns:a16="http://schemas.microsoft.com/office/drawing/2014/main" id="{7AF5331A-D752-B14B-82A0-B104596F63C0}"/>
                </a:ext>
              </a:extLst>
            </p:cNvPr>
            <p:cNvCxnSpPr>
              <a:cxnSpLocks/>
            </p:cNvCxnSpPr>
            <p:nvPr/>
          </p:nvCxnSpPr>
          <p:spPr>
            <a:xfrm>
              <a:off x="2859157" y="4663131"/>
              <a:ext cx="1440171" cy="0"/>
            </a:xfrm>
            <a:prstGeom prst="line">
              <a:avLst/>
            </a:prstGeom>
            <a:solidFill>
              <a:schemeClr val="tx1"/>
            </a:solidFill>
            <a:ln w="47625" cap="flat">
              <a:solidFill>
                <a:srgbClr val="69AFD3"/>
              </a:solidFill>
              <a:round/>
            </a:ln>
          </p:spPr>
          <p:style>
            <a:lnRef idx="1">
              <a:schemeClr val="accent1"/>
            </a:lnRef>
            <a:fillRef idx="0">
              <a:schemeClr val="accent1"/>
            </a:fillRef>
            <a:effectRef idx="0">
              <a:schemeClr val="accent1"/>
            </a:effectRef>
            <a:fontRef idx="minor">
              <a:schemeClr val="tx1"/>
            </a:fontRef>
          </p:style>
        </p:cxnSp>
        <p:sp>
          <p:nvSpPr>
            <p:cNvPr id="102" name="Text Placeholder 5">
              <a:extLst>
                <a:ext uri="{FF2B5EF4-FFF2-40B4-BE49-F238E27FC236}">
                  <a16:creationId xmlns:a16="http://schemas.microsoft.com/office/drawing/2014/main" id="{493561B5-3FDC-7D4E-B378-E88C0A0A9271}"/>
                </a:ext>
              </a:extLst>
            </p:cNvPr>
            <p:cNvSpPr txBox="1">
              <a:spLocks/>
            </p:cNvSpPr>
            <p:nvPr/>
          </p:nvSpPr>
          <p:spPr>
            <a:xfrm>
              <a:off x="2218785" y="4280713"/>
              <a:ext cx="2726021" cy="39008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i="0" u="none" strike="noStrike" kern="1200" normalizeH="0" baseline="0" dirty="0" err="1">
                  <a:ln w="0"/>
                  <a:solidFill>
                    <a:schemeClr val="accent1"/>
                  </a:solidFill>
                  <a:effectLst>
                    <a:outerShdw blurRad="38100" dist="25400" dir="5400000" algn="ctr" rotWithShape="0">
                      <a:srgbClr val="6E747A">
                        <a:alpha val="43000"/>
                      </a:srgbClr>
                    </a:outerShdw>
                  </a:effectLst>
                  <a:uLnTx/>
                  <a:uFillTx/>
                  <a:ea typeface="+mn-ea"/>
                  <a:cs typeface="+mn-cs"/>
                </a:rPr>
                <a:t>Échantillonnage</a:t>
              </a:r>
              <a:endParaRPr kumimoji="0" lang="en-US" sz="1600" i="0" u="none" strike="noStrike" kern="1200" normalizeH="0" baseline="0" dirty="0">
                <a:ln w="0"/>
                <a:solidFill>
                  <a:schemeClr val="accent1"/>
                </a:solidFill>
                <a:effectLst>
                  <a:outerShdw blurRad="38100" dist="25400" dir="5400000" algn="ctr" rotWithShape="0">
                    <a:srgbClr val="6E747A">
                      <a:alpha val="43000"/>
                    </a:srgbClr>
                  </a:outerShdw>
                </a:effectLst>
                <a:uLnTx/>
                <a:uFillTx/>
                <a:ea typeface="+mn-ea"/>
                <a:cs typeface="+mn-cs"/>
              </a:endParaRPr>
            </a:p>
          </p:txBody>
        </p:sp>
        <p:sp>
          <p:nvSpPr>
            <p:cNvPr id="103" name="Rectangle 102">
              <a:extLst>
                <a:ext uri="{FF2B5EF4-FFF2-40B4-BE49-F238E27FC236}">
                  <a16:creationId xmlns:a16="http://schemas.microsoft.com/office/drawing/2014/main" id="{BB8E3122-0C03-B141-B5B7-8E1CB7DA0CCA}"/>
                </a:ext>
              </a:extLst>
            </p:cNvPr>
            <p:cNvSpPr/>
            <p:nvPr/>
          </p:nvSpPr>
          <p:spPr>
            <a:xfrm>
              <a:off x="2161222" y="4844942"/>
              <a:ext cx="3875148" cy="124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100" b="1" dirty="0">
                  <a:solidFill>
                    <a:prstClr val="black"/>
                  </a:solidFill>
                </a:rPr>
                <a:t>2600</a:t>
              </a:r>
              <a:r>
                <a:rPr lang="en-US" sz="1100" dirty="0">
                  <a:solidFill>
                    <a:prstClr val="black"/>
                  </a:solidFill>
                </a:rPr>
                <a:t> </a:t>
              </a:r>
              <a:r>
                <a:rPr lang="en-US" sz="1100" dirty="0" err="1">
                  <a:solidFill>
                    <a:prstClr val="black"/>
                  </a:solidFill>
                </a:rPr>
                <a:t>en</a:t>
              </a:r>
              <a:r>
                <a:rPr lang="en-US" sz="1100" dirty="0">
                  <a:solidFill>
                    <a:prstClr val="black"/>
                  </a:solidFill>
                </a:rPr>
                <a:t>  train et  </a:t>
              </a:r>
              <a:r>
                <a:rPr lang="en-US" sz="1100" b="1" dirty="0">
                  <a:solidFill>
                    <a:prstClr val="black"/>
                  </a:solidFill>
                </a:rPr>
                <a:t>1000</a:t>
              </a:r>
              <a:r>
                <a:rPr lang="en-US" sz="1100" dirty="0">
                  <a:solidFill>
                    <a:prstClr val="black"/>
                  </a:solidFill>
                </a:rPr>
                <a:t> </a:t>
              </a:r>
              <a:r>
                <a:rPr lang="en-US" sz="1100" dirty="0" err="1">
                  <a:solidFill>
                    <a:prstClr val="black"/>
                  </a:solidFill>
                </a:rPr>
                <a:t>en</a:t>
              </a:r>
              <a:r>
                <a:rPr lang="en-US" sz="1100" dirty="0">
                  <a:solidFill>
                    <a:prstClr val="black"/>
                  </a:solidFill>
                </a:rPr>
                <a:t> test</a:t>
              </a:r>
            </a:p>
            <a:p>
              <a:pPr marL="179388" lvl="1" indent="-179388">
                <a:spcBef>
                  <a:spcPts val="300"/>
                </a:spcBef>
                <a:buClr>
                  <a:srgbClr val="0070AD"/>
                </a:buClr>
                <a:buFont typeface="Wingdings" panose="05000000000000000000" pitchFamily="2" charset="2"/>
                <a:buChar char="§"/>
                <a:tabLst>
                  <a:tab pos="180975" algn="l"/>
                </a:tabLst>
                <a:defRPr/>
              </a:pPr>
              <a:r>
                <a:rPr lang="en-US" sz="1100" dirty="0">
                  <a:solidFill>
                    <a:prstClr val="black"/>
                  </a:solidFill>
                </a:rPr>
                <a:t>Les </a:t>
              </a:r>
              <a:r>
                <a:rPr lang="en-US" sz="1100" dirty="0" err="1">
                  <a:solidFill>
                    <a:prstClr val="black"/>
                  </a:solidFill>
                </a:rPr>
                <a:t>échantillons</a:t>
              </a:r>
              <a:r>
                <a:rPr lang="en-US" sz="1100" dirty="0">
                  <a:solidFill>
                    <a:prstClr val="black"/>
                  </a:solidFill>
                </a:rPr>
                <a:t> </a:t>
              </a:r>
              <a:r>
                <a:rPr lang="en-US" sz="1100" dirty="0" err="1">
                  <a:solidFill>
                    <a:prstClr val="black"/>
                  </a:solidFill>
                </a:rPr>
                <a:t>sont</a:t>
              </a:r>
              <a:r>
                <a:rPr lang="en-US" sz="1100" dirty="0">
                  <a:solidFill>
                    <a:prstClr val="black"/>
                  </a:solidFill>
                </a:rPr>
                <a:t> </a:t>
              </a:r>
              <a:r>
                <a:rPr lang="en-US" sz="1100" dirty="0" err="1">
                  <a:solidFill>
                    <a:prstClr val="black"/>
                  </a:solidFill>
                </a:rPr>
                <a:t>constitués</a:t>
              </a:r>
              <a:r>
                <a:rPr lang="en-US" sz="1100" dirty="0">
                  <a:solidFill>
                    <a:prstClr val="black"/>
                  </a:solidFill>
                </a:rPr>
                <a:t> de 50% de </a:t>
              </a:r>
              <a:r>
                <a:rPr lang="en-US" sz="1100" dirty="0" err="1">
                  <a:solidFill>
                    <a:prstClr val="black"/>
                  </a:solidFill>
                </a:rPr>
                <a:t>voitutres</a:t>
              </a:r>
              <a:r>
                <a:rPr lang="en-US" sz="1100" dirty="0">
                  <a:solidFill>
                    <a:prstClr val="black"/>
                  </a:solidFill>
                </a:rPr>
                <a:t> et 50% de non voitures.</a:t>
              </a:r>
            </a:p>
            <a:p>
              <a:pPr marL="179388" lvl="1" indent="-179388">
                <a:spcBef>
                  <a:spcPts val="300"/>
                </a:spcBef>
                <a:buClr>
                  <a:srgbClr val="0070AD"/>
                </a:buClr>
                <a:buFont typeface="Wingdings" panose="05000000000000000000" pitchFamily="2" charset="2"/>
                <a:buChar char="§"/>
                <a:tabLst>
                  <a:tab pos="180975" algn="l"/>
                </a:tabLst>
                <a:defRPr/>
              </a:pPr>
              <a:r>
                <a:rPr lang="en-US" sz="1100" dirty="0" err="1">
                  <a:solidFill>
                    <a:prstClr val="black"/>
                  </a:solidFill>
                </a:rPr>
                <a:t>Seuls</a:t>
              </a:r>
              <a:r>
                <a:rPr lang="en-US" sz="1100" dirty="0">
                  <a:solidFill>
                    <a:prstClr val="black"/>
                  </a:solidFill>
                </a:rPr>
                <a:t> 100 </a:t>
              </a:r>
              <a:r>
                <a:rPr lang="en-US" sz="1100" dirty="0" err="1">
                  <a:solidFill>
                    <a:prstClr val="black"/>
                  </a:solidFill>
                </a:rPr>
                <a:t>modèles</a:t>
              </a:r>
              <a:r>
                <a:rPr lang="en-US" sz="1100" dirty="0">
                  <a:solidFill>
                    <a:prstClr val="black"/>
                  </a:solidFill>
                </a:rPr>
                <a:t> de voitures sur les 196 </a:t>
              </a:r>
              <a:r>
                <a:rPr lang="en-US" sz="1100" dirty="0" err="1">
                  <a:solidFill>
                    <a:prstClr val="black"/>
                  </a:solidFill>
                </a:rPr>
                <a:t>ont</a:t>
              </a:r>
              <a:r>
                <a:rPr lang="en-US" sz="1100" dirty="0">
                  <a:solidFill>
                    <a:prstClr val="black"/>
                  </a:solidFill>
                </a:rPr>
                <a:t> </a:t>
              </a:r>
              <a:r>
                <a:rPr lang="en-US" sz="1100" dirty="0" err="1">
                  <a:solidFill>
                    <a:prstClr val="black"/>
                  </a:solidFill>
                </a:rPr>
                <a:t>été</a:t>
              </a:r>
              <a:r>
                <a:rPr lang="en-US" sz="1100" dirty="0">
                  <a:solidFill>
                    <a:prstClr val="black"/>
                  </a:solidFill>
                </a:rPr>
                <a:t> </a:t>
              </a:r>
              <a:r>
                <a:rPr lang="en-US" sz="1100" dirty="0" err="1">
                  <a:solidFill>
                    <a:prstClr val="black"/>
                  </a:solidFill>
                </a:rPr>
                <a:t>échantillonnés</a:t>
              </a:r>
              <a:endParaRPr lang="en-US" sz="11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endParaRPr lang="en-US" sz="1100" dirty="0">
                <a:solidFill>
                  <a:prstClr val="black"/>
                </a:solidFill>
              </a:endParaRPr>
            </a:p>
          </p:txBody>
        </p:sp>
        <p:sp>
          <p:nvSpPr>
            <p:cNvPr id="104" name="Rectangle 103">
              <a:extLst>
                <a:ext uri="{FF2B5EF4-FFF2-40B4-BE49-F238E27FC236}">
                  <a16:creationId xmlns:a16="http://schemas.microsoft.com/office/drawing/2014/main" id="{4ABD7E80-8107-8F44-8999-0C4D5E35D5F0}"/>
                </a:ext>
              </a:extLst>
            </p:cNvPr>
            <p:cNvSpPr/>
            <p:nvPr/>
          </p:nvSpPr>
          <p:spPr>
            <a:xfrm>
              <a:off x="2106004" y="4166133"/>
              <a:ext cx="3989995" cy="197435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6" name="Groupe 105">
            <a:extLst>
              <a:ext uri="{FF2B5EF4-FFF2-40B4-BE49-F238E27FC236}">
                <a16:creationId xmlns:a16="http://schemas.microsoft.com/office/drawing/2014/main" id="{0CC81665-3462-3445-BA4D-34043CA15801}"/>
              </a:ext>
            </a:extLst>
          </p:cNvPr>
          <p:cNvGrpSpPr/>
          <p:nvPr/>
        </p:nvGrpSpPr>
        <p:grpSpPr>
          <a:xfrm>
            <a:off x="7571121" y="4601896"/>
            <a:ext cx="3856781" cy="1580769"/>
            <a:chOff x="2106004" y="4166133"/>
            <a:chExt cx="3989995" cy="1974351"/>
          </a:xfrm>
        </p:grpSpPr>
        <p:cxnSp>
          <p:nvCxnSpPr>
            <p:cNvPr id="107" name="Conector reto 49">
              <a:extLst>
                <a:ext uri="{FF2B5EF4-FFF2-40B4-BE49-F238E27FC236}">
                  <a16:creationId xmlns:a16="http://schemas.microsoft.com/office/drawing/2014/main" id="{7A7ACB40-0043-7747-9748-13C36887CDAD}"/>
                </a:ext>
              </a:extLst>
            </p:cNvPr>
            <p:cNvCxnSpPr>
              <a:cxnSpLocks/>
            </p:cNvCxnSpPr>
            <p:nvPr/>
          </p:nvCxnSpPr>
          <p:spPr>
            <a:xfrm>
              <a:off x="2859157" y="4663131"/>
              <a:ext cx="1440171" cy="0"/>
            </a:xfrm>
            <a:prstGeom prst="line">
              <a:avLst/>
            </a:prstGeom>
            <a:solidFill>
              <a:schemeClr val="tx1"/>
            </a:solidFill>
            <a:ln w="47625" cap="flat">
              <a:solidFill>
                <a:srgbClr val="69AFD3"/>
              </a:solidFill>
              <a:round/>
            </a:ln>
          </p:spPr>
          <p:style>
            <a:lnRef idx="1">
              <a:schemeClr val="accent1"/>
            </a:lnRef>
            <a:fillRef idx="0">
              <a:schemeClr val="accent1"/>
            </a:fillRef>
            <a:effectRef idx="0">
              <a:schemeClr val="accent1"/>
            </a:effectRef>
            <a:fontRef idx="minor">
              <a:schemeClr val="tx1"/>
            </a:fontRef>
          </p:style>
        </p:cxnSp>
        <p:sp>
          <p:nvSpPr>
            <p:cNvPr id="108" name="Text Placeholder 5">
              <a:extLst>
                <a:ext uri="{FF2B5EF4-FFF2-40B4-BE49-F238E27FC236}">
                  <a16:creationId xmlns:a16="http://schemas.microsoft.com/office/drawing/2014/main" id="{259A299C-C2F5-1447-9D06-19449BA1AAD0}"/>
                </a:ext>
              </a:extLst>
            </p:cNvPr>
            <p:cNvSpPr txBox="1">
              <a:spLocks/>
            </p:cNvSpPr>
            <p:nvPr/>
          </p:nvSpPr>
          <p:spPr>
            <a:xfrm>
              <a:off x="2218785" y="4280713"/>
              <a:ext cx="2726021" cy="39008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i="0" u="none" strike="noStrike" kern="1200" normalizeH="0" baseline="0" dirty="0">
                  <a:ln w="0"/>
                  <a:solidFill>
                    <a:schemeClr val="accent1"/>
                  </a:solidFill>
                  <a:effectLst>
                    <a:outerShdw blurRad="38100" dist="25400" dir="5400000" algn="ctr" rotWithShape="0">
                      <a:srgbClr val="6E747A">
                        <a:alpha val="43000"/>
                      </a:srgbClr>
                    </a:outerShdw>
                  </a:effectLst>
                  <a:uLnTx/>
                  <a:uFillTx/>
                  <a:ea typeface="+mn-ea"/>
                  <a:cs typeface="+mn-cs"/>
                </a:rPr>
                <a:t>Transformation</a:t>
              </a:r>
            </a:p>
          </p:txBody>
        </p:sp>
        <p:sp>
          <p:nvSpPr>
            <p:cNvPr id="109" name="Rectangle 108">
              <a:extLst>
                <a:ext uri="{FF2B5EF4-FFF2-40B4-BE49-F238E27FC236}">
                  <a16:creationId xmlns:a16="http://schemas.microsoft.com/office/drawing/2014/main" id="{C9ECAFB2-DCE9-9C48-BCF7-5BE085C3FDC7}"/>
                </a:ext>
              </a:extLst>
            </p:cNvPr>
            <p:cNvSpPr/>
            <p:nvPr/>
          </p:nvSpPr>
          <p:spPr>
            <a:xfrm>
              <a:off x="2161222" y="4844942"/>
              <a:ext cx="3875148" cy="124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100" dirty="0">
                  <a:solidFill>
                    <a:prstClr val="black"/>
                  </a:solidFill>
                </a:rPr>
                <a:t>Hasher les </a:t>
              </a:r>
              <a:r>
                <a:rPr lang="en-US" sz="1100" dirty="0" err="1">
                  <a:solidFill>
                    <a:prstClr val="black"/>
                  </a:solidFill>
                </a:rPr>
                <a:t>noms</a:t>
              </a:r>
              <a:r>
                <a:rPr lang="en-US" sz="1100" dirty="0">
                  <a:solidFill>
                    <a:prstClr val="black"/>
                  </a:solidFill>
                </a:rPr>
                <a:t> </a:t>
              </a:r>
              <a:r>
                <a:rPr lang="en-US" sz="1100" dirty="0" err="1">
                  <a:solidFill>
                    <a:prstClr val="black"/>
                  </a:solidFill>
                </a:rPr>
                <a:t>originaux</a:t>
              </a:r>
              <a:r>
                <a:rPr lang="en-US" sz="1100" dirty="0">
                  <a:solidFill>
                    <a:prstClr val="black"/>
                  </a:solidFill>
                </a:rPr>
                <a:t> des images</a:t>
              </a:r>
            </a:p>
            <a:p>
              <a:pPr marL="179388" lvl="1" indent="-179388">
                <a:spcBef>
                  <a:spcPts val="300"/>
                </a:spcBef>
                <a:buClr>
                  <a:srgbClr val="0070AD"/>
                </a:buClr>
                <a:buFont typeface="Wingdings" panose="05000000000000000000" pitchFamily="2" charset="2"/>
                <a:buChar char="§"/>
                <a:tabLst>
                  <a:tab pos="180975" algn="l"/>
                </a:tabLst>
                <a:defRPr/>
              </a:pPr>
              <a:r>
                <a:rPr lang="en-US" sz="1100" dirty="0" err="1">
                  <a:solidFill>
                    <a:prstClr val="black"/>
                  </a:solidFill>
                </a:rPr>
                <a:t>Ajouter</a:t>
              </a:r>
              <a:r>
                <a:rPr lang="en-US" sz="1100" dirty="0">
                  <a:solidFill>
                    <a:prstClr val="black"/>
                  </a:solidFill>
                </a:rPr>
                <a:t> de bruits sur 10% des </a:t>
              </a:r>
              <a:r>
                <a:rPr lang="en-US" sz="1100" dirty="0" err="1">
                  <a:solidFill>
                    <a:prstClr val="black"/>
                  </a:solidFill>
                </a:rPr>
                <a:t>données</a:t>
              </a:r>
              <a:r>
                <a:rPr lang="en-US" sz="1100" dirty="0">
                  <a:solidFill>
                    <a:prstClr val="black"/>
                  </a:solidFill>
                </a:rPr>
                <a:t> : </a:t>
              </a:r>
            </a:p>
            <a:p>
              <a:pPr marL="636588" lvl="2" indent="-179388">
                <a:spcBef>
                  <a:spcPts val="300"/>
                </a:spcBef>
                <a:buClr>
                  <a:srgbClr val="0070AD"/>
                </a:buClr>
                <a:buFont typeface="Wingdings" panose="05000000000000000000" pitchFamily="2" charset="2"/>
                <a:buChar char="§"/>
                <a:tabLst>
                  <a:tab pos="180975" algn="l"/>
                </a:tabLst>
                <a:defRPr/>
              </a:pPr>
              <a:r>
                <a:rPr lang="en-US" sz="1100" dirty="0">
                  <a:solidFill>
                    <a:prstClr val="black"/>
                  </a:solidFill>
                </a:rPr>
                <a:t>Des </a:t>
              </a:r>
              <a:r>
                <a:rPr lang="en-US" sz="1100" dirty="0" err="1">
                  <a:solidFill>
                    <a:prstClr val="black"/>
                  </a:solidFill>
                </a:rPr>
                <a:t>carrés</a:t>
              </a:r>
              <a:r>
                <a:rPr lang="en-US" sz="1100" dirty="0">
                  <a:solidFill>
                    <a:prstClr val="black"/>
                  </a:solidFill>
                </a:rPr>
                <a:t> noirs, </a:t>
              </a:r>
              <a:r>
                <a:rPr lang="en-US" sz="1100" dirty="0" err="1">
                  <a:solidFill>
                    <a:prstClr val="black"/>
                  </a:solidFill>
                </a:rPr>
                <a:t>Flottage</a:t>
              </a:r>
              <a:r>
                <a:rPr lang="en-US" sz="1100" dirty="0">
                  <a:solidFill>
                    <a:prstClr val="black"/>
                  </a:solidFill>
                </a:rPr>
                <a:t>, </a:t>
              </a:r>
              <a:r>
                <a:rPr lang="en-US" sz="1100" dirty="0" err="1">
                  <a:solidFill>
                    <a:prstClr val="black"/>
                  </a:solidFill>
                </a:rPr>
                <a:t>luminosité</a:t>
              </a:r>
              <a:r>
                <a:rPr lang="en-US" sz="1100" dirty="0">
                  <a:solidFill>
                    <a:prstClr val="black"/>
                  </a:solidFill>
                </a:rPr>
                <a:t>, suppression de labels.</a:t>
              </a:r>
            </a:p>
            <a:p>
              <a:pPr marL="179388" lvl="1" indent="-179388">
                <a:spcBef>
                  <a:spcPts val="300"/>
                </a:spcBef>
                <a:buClr>
                  <a:srgbClr val="0070AD"/>
                </a:buClr>
                <a:buFont typeface="Wingdings" panose="05000000000000000000" pitchFamily="2" charset="2"/>
                <a:buChar char="§"/>
                <a:tabLst>
                  <a:tab pos="180975" algn="l"/>
                </a:tabLst>
                <a:defRPr/>
              </a:pPr>
              <a:endParaRPr lang="en-US" sz="1100" dirty="0">
                <a:solidFill>
                  <a:prstClr val="black"/>
                </a:solidFill>
              </a:endParaRPr>
            </a:p>
          </p:txBody>
        </p:sp>
        <p:sp>
          <p:nvSpPr>
            <p:cNvPr id="110" name="Rectangle 109">
              <a:extLst>
                <a:ext uri="{FF2B5EF4-FFF2-40B4-BE49-F238E27FC236}">
                  <a16:creationId xmlns:a16="http://schemas.microsoft.com/office/drawing/2014/main" id="{FC02E101-467E-D24A-BC38-863ACD472FC8}"/>
                </a:ext>
              </a:extLst>
            </p:cNvPr>
            <p:cNvSpPr/>
            <p:nvPr/>
          </p:nvSpPr>
          <p:spPr>
            <a:xfrm>
              <a:off x="2106004" y="4166133"/>
              <a:ext cx="3989995" cy="197435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70" name="Groupe 969">
            <a:extLst>
              <a:ext uri="{FF2B5EF4-FFF2-40B4-BE49-F238E27FC236}">
                <a16:creationId xmlns:a16="http://schemas.microsoft.com/office/drawing/2014/main" id="{528F017A-46D2-5F41-B2BB-D52A33549122}"/>
              </a:ext>
            </a:extLst>
          </p:cNvPr>
          <p:cNvGrpSpPr/>
          <p:nvPr/>
        </p:nvGrpSpPr>
        <p:grpSpPr>
          <a:xfrm>
            <a:off x="10828862" y="4735500"/>
            <a:ext cx="310338" cy="312323"/>
            <a:chOff x="6424397" y="4039933"/>
            <a:chExt cx="1283287" cy="1282674"/>
          </a:xfrm>
        </p:grpSpPr>
        <p:sp>
          <p:nvSpPr>
            <p:cNvPr id="112" name="Freeform 20">
              <a:extLst>
                <a:ext uri="{FF2B5EF4-FFF2-40B4-BE49-F238E27FC236}">
                  <a16:creationId xmlns:a16="http://schemas.microsoft.com/office/drawing/2014/main" id="{E7F5A5BD-DBEF-654B-A0DA-DDEDC54E7971}"/>
                </a:ext>
              </a:extLst>
            </p:cNvPr>
            <p:cNvSpPr>
              <a:spLocks noEditPoints="1"/>
            </p:cNvSpPr>
            <p:nvPr/>
          </p:nvSpPr>
          <p:spPr bwMode="auto">
            <a:xfrm>
              <a:off x="6424397" y="4039933"/>
              <a:ext cx="1283287" cy="1282674"/>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1">
              <a:extLst>
                <a:ext uri="{FF2B5EF4-FFF2-40B4-BE49-F238E27FC236}">
                  <a16:creationId xmlns:a16="http://schemas.microsoft.com/office/drawing/2014/main" id="{BFB793E3-FA0C-9D40-9149-8594A0680530}"/>
                </a:ext>
              </a:extLst>
            </p:cNvPr>
            <p:cNvSpPr>
              <a:spLocks noEditPoints="1"/>
            </p:cNvSpPr>
            <p:nvPr/>
          </p:nvSpPr>
          <p:spPr bwMode="auto">
            <a:xfrm>
              <a:off x="6837497" y="4452726"/>
              <a:ext cx="457086" cy="457087"/>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72" name="Groupe 971">
            <a:extLst>
              <a:ext uri="{FF2B5EF4-FFF2-40B4-BE49-F238E27FC236}">
                <a16:creationId xmlns:a16="http://schemas.microsoft.com/office/drawing/2014/main" id="{F0AAB4A8-1A8B-2141-BFCA-62FEC9EA4C1B}"/>
              </a:ext>
            </a:extLst>
          </p:cNvPr>
          <p:cNvGrpSpPr/>
          <p:nvPr/>
        </p:nvGrpSpPr>
        <p:grpSpPr>
          <a:xfrm>
            <a:off x="2097423" y="1132709"/>
            <a:ext cx="8597251" cy="3120841"/>
            <a:chOff x="1446895" y="1132709"/>
            <a:chExt cx="9346337" cy="3120841"/>
          </a:xfrm>
        </p:grpSpPr>
        <p:grpSp>
          <p:nvGrpSpPr>
            <p:cNvPr id="971" name="Groupe 970">
              <a:extLst>
                <a:ext uri="{FF2B5EF4-FFF2-40B4-BE49-F238E27FC236}">
                  <a16:creationId xmlns:a16="http://schemas.microsoft.com/office/drawing/2014/main" id="{7C67F1E0-1DF8-6A43-9417-8BE9D0E0597F}"/>
                </a:ext>
              </a:extLst>
            </p:cNvPr>
            <p:cNvGrpSpPr/>
            <p:nvPr/>
          </p:nvGrpSpPr>
          <p:grpSpPr>
            <a:xfrm>
              <a:off x="1446895" y="1233208"/>
              <a:ext cx="9346337" cy="3020342"/>
              <a:chOff x="1446895" y="1233208"/>
              <a:chExt cx="9346337" cy="3020342"/>
            </a:xfrm>
          </p:grpSpPr>
          <p:grpSp>
            <p:nvGrpSpPr>
              <p:cNvPr id="964" name="Groupe 963">
                <a:extLst>
                  <a:ext uri="{FF2B5EF4-FFF2-40B4-BE49-F238E27FC236}">
                    <a16:creationId xmlns:a16="http://schemas.microsoft.com/office/drawing/2014/main" id="{D4230D09-49FC-0A4A-A910-9E551CB33F7E}"/>
                  </a:ext>
                </a:extLst>
              </p:cNvPr>
              <p:cNvGrpSpPr/>
              <p:nvPr/>
            </p:nvGrpSpPr>
            <p:grpSpPr>
              <a:xfrm>
                <a:off x="1446895" y="1233208"/>
                <a:ext cx="5728534" cy="3020342"/>
                <a:chOff x="178971" y="1658823"/>
                <a:chExt cx="7112510" cy="3748876"/>
              </a:xfrm>
            </p:grpSpPr>
            <p:sp>
              <p:nvSpPr>
                <p:cNvPr id="28" name="Accolade fermante 27">
                  <a:extLst>
                    <a:ext uri="{FF2B5EF4-FFF2-40B4-BE49-F238E27FC236}">
                      <a16:creationId xmlns:a16="http://schemas.microsoft.com/office/drawing/2014/main" id="{2428AC4A-3E82-5D4A-A7FE-10C8BED9BB82}"/>
                    </a:ext>
                  </a:extLst>
                </p:cNvPr>
                <p:cNvSpPr/>
                <p:nvPr/>
              </p:nvSpPr>
              <p:spPr>
                <a:xfrm>
                  <a:off x="4468192" y="2132595"/>
                  <a:ext cx="462423" cy="2841784"/>
                </a:xfrm>
                <a:prstGeom prst="rightBrace">
                  <a:avLst>
                    <a:gd name="adj1" fmla="val 8333"/>
                    <a:gd name="adj2" fmla="val 50871"/>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sz="1400">
                    <a:ln w="0"/>
                    <a:effectLst>
                      <a:outerShdw blurRad="38100" dist="19050" dir="2700000" algn="tl" rotWithShape="0">
                        <a:schemeClr val="dk1">
                          <a:alpha val="40000"/>
                        </a:schemeClr>
                      </a:outerShdw>
                    </a:effectLst>
                  </a:endParaRPr>
                </a:p>
              </p:txBody>
            </p:sp>
            <p:sp>
              <p:nvSpPr>
                <p:cNvPr id="41" name="ZoneTexte 40">
                  <a:extLst>
                    <a:ext uri="{FF2B5EF4-FFF2-40B4-BE49-F238E27FC236}">
                      <a16:creationId xmlns:a16="http://schemas.microsoft.com/office/drawing/2014/main" id="{F2A01D00-DCE5-2543-9E24-E4A919ACD546}"/>
                    </a:ext>
                  </a:extLst>
                </p:cNvPr>
                <p:cNvSpPr txBox="1"/>
                <p:nvPr/>
              </p:nvSpPr>
              <p:spPr>
                <a:xfrm>
                  <a:off x="178971" y="1658823"/>
                  <a:ext cx="2908555" cy="82133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dirty="0">
                      <a:ln w="0"/>
                      <a:solidFill>
                        <a:schemeClr val="tx1"/>
                      </a:solidFill>
                      <a:effectLst>
                        <a:outerShdw blurRad="38100" dist="19050" dir="2700000" algn="tl" rotWithShape="0">
                          <a:schemeClr val="dk1">
                            <a:alpha val="40000"/>
                          </a:schemeClr>
                        </a:outerShdw>
                      </a:effectLst>
                    </a:rPr>
                    <a:t>Stanford </a:t>
                  </a:r>
                  <a:r>
                    <a:rPr lang="fr-FR" sz="1200" dirty="0" err="1">
                      <a:ln w="0"/>
                      <a:solidFill>
                        <a:schemeClr val="tx1"/>
                      </a:solidFill>
                      <a:effectLst>
                        <a:outerShdw blurRad="38100" dist="19050" dir="2700000" algn="tl" rotWithShape="0">
                          <a:schemeClr val="dk1">
                            <a:alpha val="40000"/>
                          </a:schemeClr>
                        </a:outerShdw>
                      </a:effectLst>
                    </a:rPr>
                    <a:t>Dataset</a:t>
                  </a:r>
                  <a:endParaRPr lang="fr-FR" sz="1200" dirty="0">
                    <a:ln w="0"/>
                    <a:solidFill>
                      <a:schemeClr val="tx1"/>
                    </a:solidFill>
                    <a:effectLst>
                      <a:outerShdw blurRad="38100" dist="19050" dir="2700000" algn="tl" rotWithShape="0">
                        <a:schemeClr val="dk1">
                          <a:alpha val="40000"/>
                        </a:schemeClr>
                      </a:outerShdw>
                    </a:effectLst>
                  </a:endParaRPr>
                </a:p>
                <a:p>
                  <a:r>
                    <a:rPr lang="fr-FR" sz="1100" dirty="0"/>
                    <a:t>+16m voitures de  196 modèles</a:t>
                  </a:r>
                  <a:endParaRPr lang="fr-FR" sz="1050" dirty="0">
                    <a:ln w="0"/>
                    <a:solidFill>
                      <a:schemeClr val="tx1"/>
                    </a:solidFill>
                    <a:effectLst>
                      <a:outerShdw blurRad="38100" dist="19050" dir="2700000" algn="tl" rotWithShape="0">
                        <a:schemeClr val="dk1">
                          <a:alpha val="40000"/>
                        </a:schemeClr>
                      </a:outerShdw>
                    </a:effectLst>
                  </a:endParaRPr>
                </a:p>
                <a:p>
                  <a:pPr algn="ctr"/>
                  <a:r>
                    <a:rPr lang="fr-FR" sz="700" dirty="0">
                      <a:ln w="0"/>
                      <a:solidFill>
                        <a:schemeClr val="tx1"/>
                      </a:solidFill>
                      <a:effectLst>
                        <a:outerShdw blurRad="38100" dist="19050" dir="2700000" algn="tl" rotWithShape="0">
                          <a:schemeClr val="dk1">
                            <a:alpha val="40000"/>
                          </a:schemeClr>
                        </a:outerShdw>
                      </a:effectLst>
                      <a:hlinkClick r:id="rId3"/>
                    </a:rPr>
                    <a:t>http://ai.stanford.edu/~jkrause/cars/car_dataset.html </a:t>
                  </a:r>
                  <a:endParaRPr lang="fr-FR" sz="700" dirty="0">
                    <a:ln w="0"/>
                    <a:solidFill>
                      <a:schemeClr val="tx1"/>
                    </a:solidFill>
                    <a:effectLst>
                      <a:outerShdw blurRad="38100" dist="19050" dir="2700000" algn="tl" rotWithShape="0">
                        <a:schemeClr val="dk1">
                          <a:alpha val="40000"/>
                        </a:schemeClr>
                      </a:outerShdw>
                    </a:effectLst>
                  </a:endParaRPr>
                </a:p>
                <a:p>
                  <a:pPr algn="ctr"/>
                  <a:endParaRPr lang="fr-FR" sz="700" dirty="0">
                    <a:ln w="0"/>
                    <a:solidFill>
                      <a:schemeClr val="tx1"/>
                    </a:solidFill>
                    <a:effectLst>
                      <a:outerShdw blurRad="38100" dist="19050" dir="2700000" algn="tl" rotWithShape="0">
                        <a:schemeClr val="dk1">
                          <a:alpha val="40000"/>
                        </a:schemeClr>
                      </a:outerShdw>
                    </a:effectLst>
                  </a:endParaRPr>
                </a:p>
              </p:txBody>
            </p:sp>
            <p:sp>
              <p:nvSpPr>
                <p:cNvPr id="42" name="ZoneTexte 41">
                  <a:extLst>
                    <a:ext uri="{FF2B5EF4-FFF2-40B4-BE49-F238E27FC236}">
                      <a16:creationId xmlns:a16="http://schemas.microsoft.com/office/drawing/2014/main" id="{68B31152-FA71-3943-9369-311A24C1B86E}"/>
                    </a:ext>
                  </a:extLst>
                </p:cNvPr>
                <p:cNvSpPr txBox="1"/>
                <p:nvPr/>
              </p:nvSpPr>
              <p:spPr>
                <a:xfrm>
                  <a:off x="178971" y="3103101"/>
                  <a:ext cx="2908555" cy="82133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i="1" dirty="0">
                      <a:ln w="0"/>
                      <a:solidFill>
                        <a:schemeClr val="tx1"/>
                      </a:solidFill>
                      <a:effectLst>
                        <a:outerShdw blurRad="38100" dist="19050" dir="2700000" algn="tl" rotWithShape="0">
                          <a:schemeClr val="dk1">
                            <a:alpha val="40000"/>
                          </a:schemeClr>
                        </a:outerShdw>
                      </a:effectLst>
                    </a:rPr>
                    <a:t>Open Images </a:t>
                  </a:r>
                  <a:r>
                    <a:rPr lang="fr-FR" sz="1200" dirty="0" err="1">
                      <a:ln w="0"/>
                      <a:solidFill>
                        <a:schemeClr val="tx1"/>
                      </a:solidFill>
                      <a:effectLst>
                        <a:outerShdw blurRad="38100" dist="19050" dir="2700000" algn="tl" rotWithShape="0">
                          <a:schemeClr val="dk1">
                            <a:alpha val="40000"/>
                          </a:schemeClr>
                        </a:outerShdw>
                      </a:effectLst>
                    </a:rPr>
                    <a:t>Dataset</a:t>
                  </a:r>
                  <a:r>
                    <a:rPr lang="fr-FR" sz="1200" dirty="0">
                      <a:ln w="0"/>
                      <a:solidFill>
                        <a:schemeClr val="tx1"/>
                      </a:solidFill>
                      <a:effectLst>
                        <a:outerShdw blurRad="38100" dist="19050" dir="2700000" algn="tl" rotWithShape="0">
                          <a:schemeClr val="dk1">
                            <a:alpha val="40000"/>
                          </a:schemeClr>
                        </a:outerShdw>
                      </a:effectLst>
                    </a:rPr>
                    <a:t> </a:t>
                  </a:r>
                  <a:r>
                    <a:rPr lang="fr-FR" sz="1200" i="1" dirty="0">
                      <a:ln w="0"/>
                      <a:solidFill>
                        <a:schemeClr val="tx1"/>
                      </a:solidFill>
                      <a:effectLst>
                        <a:outerShdw blurRad="38100" dist="19050" dir="2700000" algn="tl" rotWithShape="0">
                          <a:schemeClr val="dk1">
                            <a:alpha val="40000"/>
                          </a:schemeClr>
                        </a:outerShdw>
                      </a:effectLst>
                    </a:rPr>
                    <a:t>V6</a:t>
                  </a:r>
                </a:p>
                <a:p>
                  <a:r>
                    <a:rPr lang="fr-FR" sz="1100" i="1" dirty="0">
                      <a:solidFill>
                        <a:schemeClr val="tx1"/>
                      </a:solidFill>
                    </a:rPr>
                    <a:t>+1M d’images de 600 objets </a:t>
                  </a:r>
                  <a:endParaRPr lang="fr-FR" sz="1100" dirty="0">
                    <a:solidFill>
                      <a:schemeClr val="tx1"/>
                    </a:solidFill>
                  </a:endParaRPr>
                </a:p>
                <a:p>
                  <a:pPr algn="ctr"/>
                  <a:r>
                    <a:rPr lang="fr-FR" sz="700" dirty="0">
                      <a:ln w="0"/>
                      <a:solidFill>
                        <a:schemeClr val="tx1"/>
                      </a:solidFill>
                      <a:effectLst>
                        <a:outerShdw blurRad="38100" dist="19050" dir="2700000" algn="tl" rotWithShape="0">
                          <a:schemeClr val="dk1">
                            <a:alpha val="40000"/>
                          </a:schemeClr>
                        </a:outerShdw>
                      </a:effectLst>
                      <a:hlinkClick r:id="rId4"/>
                    </a:rPr>
                    <a:t>https://</a:t>
                  </a:r>
                  <a:r>
                    <a:rPr lang="fr-FR" sz="700" dirty="0" err="1">
                      <a:ln w="0"/>
                      <a:solidFill>
                        <a:schemeClr val="tx1"/>
                      </a:solidFill>
                      <a:effectLst>
                        <a:outerShdw blurRad="38100" dist="19050" dir="2700000" algn="tl" rotWithShape="0">
                          <a:schemeClr val="dk1">
                            <a:alpha val="40000"/>
                          </a:schemeClr>
                        </a:outerShdw>
                      </a:effectLst>
                      <a:hlinkClick r:id="rId4"/>
                    </a:rPr>
                    <a:t>storage.googleapis.com</a:t>
                  </a:r>
                  <a:r>
                    <a:rPr lang="fr-FR" sz="700" dirty="0">
                      <a:ln w="0"/>
                      <a:solidFill>
                        <a:schemeClr val="tx1"/>
                      </a:solidFill>
                      <a:effectLst>
                        <a:outerShdw blurRad="38100" dist="19050" dir="2700000" algn="tl" rotWithShape="0">
                          <a:schemeClr val="dk1">
                            <a:alpha val="40000"/>
                          </a:schemeClr>
                        </a:outerShdw>
                      </a:effectLst>
                      <a:hlinkClick r:id="rId4"/>
                    </a:rPr>
                    <a:t>/</a:t>
                  </a:r>
                  <a:r>
                    <a:rPr lang="fr-FR" sz="700" dirty="0" err="1">
                      <a:ln w="0"/>
                      <a:solidFill>
                        <a:schemeClr val="tx1"/>
                      </a:solidFill>
                      <a:effectLst>
                        <a:outerShdw blurRad="38100" dist="19050" dir="2700000" algn="tl" rotWithShape="0">
                          <a:schemeClr val="dk1">
                            <a:alpha val="40000"/>
                          </a:schemeClr>
                        </a:outerShdw>
                      </a:effectLst>
                      <a:hlinkClick r:id="rId4"/>
                    </a:rPr>
                    <a:t>openimages</a:t>
                  </a:r>
                  <a:r>
                    <a:rPr lang="fr-FR" sz="700" dirty="0">
                      <a:ln w="0"/>
                      <a:solidFill>
                        <a:schemeClr val="tx1"/>
                      </a:solidFill>
                      <a:effectLst>
                        <a:outerShdw blurRad="38100" dist="19050" dir="2700000" algn="tl" rotWithShape="0">
                          <a:schemeClr val="dk1">
                            <a:alpha val="40000"/>
                          </a:schemeClr>
                        </a:outerShdw>
                      </a:effectLst>
                      <a:hlinkClick r:id="rId4"/>
                    </a:rPr>
                    <a:t>/web/</a:t>
                  </a:r>
                  <a:r>
                    <a:rPr lang="fr-FR" sz="700" dirty="0" err="1">
                      <a:ln w="0"/>
                      <a:solidFill>
                        <a:schemeClr val="tx1"/>
                      </a:solidFill>
                      <a:effectLst>
                        <a:outerShdw blurRad="38100" dist="19050" dir="2700000" algn="tl" rotWithShape="0">
                          <a:schemeClr val="dk1">
                            <a:alpha val="40000"/>
                          </a:schemeClr>
                        </a:outerShdw>
                      </a:effectLst>
                      <a:hlinkClick r:id="rId4"/>
                    </a:rPr>
                    <a:t>download.html</a:t>
                  </a:r>
                  <a:endParaRPr lang="fr-FR" sz="700" dirty="0">
                    <a:ln w="0"/>
                    <a:solidFill>
                      <a:schemeClr val="tx1"/>
                    </a:solidFill>
                    <a:effectLst>
                      <a:outerShdw blurRad="38100" dist="19050" dir="2700000" algn="tl" rotWithShape="0">
                        <a:schemeClr val="dk1">
                          <a:alpha val="40000"/>
                        </a:schemeClr>
                      </a:outerShdw>
                    </a:effectLst>
                  </a:endParaRPr>
                </a:p>
              </p:txBody>
            </p:sp>
            <p:sp>
              <p:nvSpPr>
                <p:cNvPr id="43" name="ZoneTexte 42">
                  <a:extLst>
                    <a:ext uri="{FF2B5EF4-FFF2-40B4-BE49-F238E27FC236}">
                      <a16:creationId xmlns:a16="http://schemas.microsoft.com/office/drawing/2014/main" id="{1A19CEEC-4D08-5946-8146-508147E2B0E7}"/>
                    </a:ext>
                  </a:extLst>
                </p:cNvPr>
                <p:cNvSpPr txBox="1"/>
                <p:nvPr/>
              </p:nvSpPr>
              <p:spPr>
                <a:xfrm>
                  <a:off x="178971" y="4586366"/>
                  <a:ext cx="2908555" cy="82133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i="1" dirty="0">
                      <a:ln w="0"/>
                      <a:solidFill>
                        <a:schemeClr val="tx1"/>
                      </a:solidFill>
                      <a:effectLst>
                        <a:outerShdw blurRad="38100" dist="19050" dir="2700000" algn="tl" rotWithShape="0">
                          <a:schemeClr val="dk1">
                            <a:alpha val="40000"/>
                          </a:schemeClr>
                        </a:outerShdw>
                      </a:effectLst>
                    </a:rPr>
                    <a:t>Open Data Soft</a:t>
                  </a:r>
                </a:p>
                <a:p>
                  <a:r>
                    <a:rPr lang="fr-FR" sz="1100" i="1" dirty="0" err="1">
                      <a:solidFill>
                        <a:schemeClr val="tx1"/>
                      </a:solidFill>
                    </a:rPr>
                    <a:t>Emisson</a:t>
                  </a:r>
                  <a:r>
                    <a:rPr lang="fr-FR" sz="1100" i="1" dirty="0">
                      <a:solidFill>
                        <a:schemeClr val="tx1"/>
                      </a:solidFill>
                    </a:rPr>
                    <a:t> de CO2 par véhicule</a:t>
                  </a:r>
                </a:p>
                <a:p>
                  <a:pPr algn="ctr"/>
                  <a:r>
                    <a:rPr lang="fr-FR" sz="700" dirty="0">
                      <a:ln w="0"/>
                      <a:solidFill>
                        <a:schemeClr val="tx1"/>
                      </a:solidFill>
                      <a:effectLst>
                        <a:outerShdw blurRad="38100" dist="19050" dir="2700000" algn="tl" rotWithShape="0">
                          <a:schemeClr val="dk1">
                            <a:alpha val="40000"/>
                          </a:schemeClr>
                        </a:outerShdw>
                      </a:effectLst>
                      <a:hlinkClick r:id="rId5"/>
                    </a:rPr>
                    <a:t>https://</a:t>
                  </a:r>
                  <a:r>
                    <a:rPr lang="fr-FR" sz="700" dirty="0" err="1">
                      <a:ln w="0"/>
                      <a:solidFill>
                        <a:schemeClr val="tx1"/>
                      </a:solidFill>
                      <a:effectLst>
                        <a:outerShdw blurRad="38100" dist="19050" dir="2700000" algn="tl" rotWithShape="0">
                          <a:schemeClr val="dk1">
                            <a:alpha val="40000"/>
                          </a:schemeClr>
                        </a:outerShdw>
                      </a:effectLst>
                      <a:hlinkClick r:id="rId5"/>
                    </a:rPr>
                    <a:t>public.opendatasoft.com</a:t>
                  </a:r>
                  <a:r>
                    <a:rPr lang="fr-FR" sz="700" dirty="0">
                      <a:ln w="0"/>
                      <a:solidFill>
                        <a:schemeClr val="tx1"/>
                      </a:solidFill>
                      <a:effectLst>
                        <a:outerShdw blurRad="38100" dist="19050" dir="2700000" algn="tl" rotWithShape="0">
                          <a:schemeClr val="dk1">
                            <a:alpha val="40000"/>
                          </a:schemeClr>
                        </a:outerShdw>
                      </a:effectLst>
                      <a:hlinkClick r:id="rId5"/>
                    </a:rPr>
                    <a:t>/explore/</a:t>
                  </a:r>
                  <a:r>
                    <a:rPr lang="fr-FR" sz="700" dirty="0" err="1">
                      <a:ln w="0"/>
                      <a:solidFill>
                        <a:schemeClr val="tx1"/>
                      </a:solidFill>
                      <a:effectLst>
                        <a:outerShdw blurRad="38100" dist="19050" dir="2700000" algn="tl" rotWithShape="0">
                          <a:schemeClr val="dk1">
                            <a:alpha val="40000"/>
                          </a:schemeClr>
                        </a:outerShdw>
                      </a:effectLst>
                      <a:hlinkClick r:id="rId5"/>
                    </a:rPr>
                    <a:t>dataset</a:t>
                  </a:r>
                  <a:r>
                    <a:rPr lang="fr-FR" sz="700" dirty="0">
                      <a:ln w="0"/>
                      <a:solidFill>
                        <a:schemeClr val="tx1"/>
                      </a:solidFill>
                      <a:effectLst>
                        <a:outerShdw blurRad="38100" dist="19050" dir="2700000" algn="tl" rotWithShape="0">
                          <a:schemeClr val="dk1">
                            <a:alpha val="40000"/>
                          </a:schemeClr>
                        </a:outerShdw>
                      </a:effectLst>
                      <a:hlinkClick r:id="rId5"/>
                    </a:rPr>
                    <a:t>/</a:t>
                  </a:r>
                  <a:r>
                    <a:rPr lang="fr-FR" sz="700" dirty="0" err="1">
                      <a:ln w="0"/>
                      <a:solidFill>
                        <a:schemeClr val="tx1"/>
                      </a:solidFill>
                      <a:effectLst>
                        <a:outerShdw blurRad="38100" dist="19050" dir="2700000" algn="tl" rotWithShape="0">
                          <a:schemeClr val="dk1">
                            <a:alpha val="40000"/>
                          </a:schemeClr>
                        </a:outerShdw>
                      </a:effectLst>
                      <a:hlinkClick r:id="rId5"/>
                    </a:rPr>
                    <a:t>vehicules</a:t>
                  </a:r>
                  <a:r>
                    <a:rPr lang="fr-FR" sz="700" dirty="0">
                      <a:ln w="0"/>
                      <a:solidFill>
                        <a:schemeClr val="tx1"/>
                      </a:solidFill>
                      <a:effectLst>
                        <a:outerShdw blurRad="38100" dist="19050" dir="2700000" algn="tl" rotWithShape="0">
                          <a:schemeClr val="dk1">
                            <a:alpha val="40000"/>
                          </a:schemeClr>
                        </a:outerShdw>
                      </a:effectLst>
                      <a:hlinkClick r:id="rId5"/>
                    </a:rPr>
                    <a:t>-commercialises</a:t>
                  </a:r>
                  <a:endParaRPr lang="fr-FR" sz="700" dirty="0">
                    <a:ln w="0"/>
                    <a:solidFill>
                      <a:schemeClr val="tx1"/>
                    </a:solidFill>
                    <a:effectLst>
                      <a:outerShdw blurRad="38100" dist="19050" dir="2700000" algn="tl" rotWithShape="0">
                        <a:schemeClr val="dk1">
                          <a:alpha val="40000"/>
                        </a:schemeClr>
                      </a:outerShdw>
                    </a:effectLst>
                  </a:endParaRPr>
                </a:p>
              </p:txBody>
            </p:sp>
            <p:grpSp>
              <p:nvGrpSpPr>
                <p:cNvPr id="963" name="Groupe 962">
                  <a:extLst>
                    <a:ext uri="{FF2B5EF4-FFF2-40B4-BE49-F238E27FC236}">
                      <a16:creationId xmlns:a16="http://schemas.microsoft.com/office/drawing/2014/main" id="{24479C1F-8A84-5347-8779-83CC14B33C0C}"/>
                    </a:ext>
                  </a:extLst>
                </p:cNvPr>
                <p:cNvGrpSpPr/>
                <p:nvPr/>
              </p:nvGrpSpPr>
              <p:grpSpPr>
                <a:xfrm>
                  <a:off x="5064249" y="2824001"/>
                  <a:ext cx="2227232" cy="1552844"/>
                  <a:chOff x="5149517" y="2777065"/>
                  <a:chExt cx="2227232" cy="1552844"/>
                </a:xfrm>
              </p:grpSpPr>
              <p:grpSp>
                <p:nvGrpSpPr>
                  <p:cNvPr id="62" name="Groupe 61">
                    <a:extLst>
                      <a:ext uri="{FF2B5EF4-FFF2-40B4-BE49-F238E27FC236}">
                        <a16:creationId xmlns:a16="http://schemas.microsoft.com/office/drawing/2014/main" id="{DDE675EF-2385-D244-9D90-7E517B7CD62B}"/>
                      </a:ext>
                    </a:extLst>
                  </p:cNvPr>
                  <p:cNvGrpSpPr/>
                  <p:nvPr/>
                </p:nvGrpSpPr>
                <p:grpSpPr>
                  <a:xfrm>
                    <a:off x="5149517" y="2777065"/>
                    <a:ext cx="2227232" cy="1552844"/>
                    <a:chOff x="5103544" y="3428999"/>
                    <a:chExt cx="1703160" cy="1271201"/>
                  </a:xfrm>
                </p:grpSpPr>
                <p:sp>
                  <p:nvSpPr>
                    <p:cNvPr id="68" name="Rectangle : coins arrondis 67">
                      <a:extLst>
                        <a:ext uri="{FF2B5EF4-FFF2-40B4-BE49-F238E27FC236}">
                          <a16:creationId xmlns:a16="http://schemas.microsoft.com/office/drawing/2014/main" id="{C5419C9B-BB43-2F4D-9B7B-E1698D47A2C9}"/>
                        </a:ext>
                      </a:extLst>
                    </p:cNvPr>
                    <p:cNvSpPr/>
                    <p:nvPr/>
                  </p:nvSpPr>
                  <p:spPr>
                    <a:xfrm>
                      <a:off x="5103544" y="3428999"/>
                      <a:ext cx="1703160" cy="1271201"/>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1400" dirty="0">
                        <a:solidFill>
                          <a:srgbClr val="FF0000"/>
                        </a:solidFill>
                        <a:highlight>
                          <a:srgbClr val="FF0000"/>
                        </a:highlight>
                      </a:endParaRPr>
                    </a:p>
                  </p:txBody>
                </p:sp>
                <p:sp>
                  <p:nvSpPr>
                    <p:cNvPr id="61" name="ZoneTexte 60">
                      <a:extLst>
                        <a:ext uri="{FF2B5EF4-FFF2-40B4-BE49-F238E27FC236}">
                          <a16:creationId xmlns:a16="http://schemas.microsoft.com/office/drawing/2014/main" id="{02C085D0-CC4F-2646-9533-DB48D37B9206}"/>
                        </a:ext>
                      </a:extLst>
                    </p:cNvPr>
                    <p:cNvSpPr txBox="1"/>
                    <p:nvPr/>
                  </p:nvSpPr>
                  <p:spPr>
                    <a:xfrm>
                      <a:off x="5226979" y="3545706"/>
                      <a:ext cx="1439216" cy="281455"/>
                    </a:xfrm>
                    <a:prstGeom prst="rect">
                      <a:avLst/>
                    </a:prstGeom>
                    <a:noFill/>
                  </p:spPr>
                  <p:txBody>
                    <a:bodyPr wrap="square" rtlCol="0">
                      <a:spAutoFit/>
                    </a:bodyPr>
                    <a:lstStyle/>
                    <a:p>
                      <a:r>
                        <a:rPr lang="fr-FR" sz="1200" dirty="0"/>
                        <a:t>Echantillonnage</a:t>
                      </a:r>
                    </a:p>
                  </p:txBody>
                </p:sp>
              </p:grpSp>
              <p:sp>
                <p:nvSpPr>
                  <p:cNvPr id="83" name="ZoneTexte 82">
                    <a:extLst>
                      <a:ext uri="{FF2B5EF4-FFF2-40B4-BE49-F238E27FC236}">
                        <a16:creationId xmlns:a16="http://schemas.microsoft.com/office/drawing/2014/main" id="{4F8702F0-9A80-3D46-9A0F-4D32BC6F7993}"/>
                      </a:ext>
                    </a:extLst>
                  </p:cNvPr>
                  <p:cNvSpPr txBox="1"/>
                  <p:nvPr/>
                </p:nvSpPr>
                <p:spPr>
                  <a:xfrm>
                    <a:off x="5370243" y="3711844"/>
                    <a:ext cx="1882070" cy="343814"/>
                  </a:xfrm>
                  <a:prstGeom prst="rect">
                    <a:avLst/>
                  </a:prstGeom>
                  <a:noFill/>
                </p:spPr>
                <p:txBody>
                  <a:bodyPr wrap="square" rtlCol="0">
                    <a:spAutoFit/>
                  </a:bodyPr>
                  <a:lstStyle/>
                  <a:p>
                    <a:r>
                      <a:rPr lang="fr-FR" sz="1200" dirty="0"/>
                      <a:t>Transformation</a:t>
                    </a:r>
                    <a:endParaRPr lang="fr-FR" sz="1400" dirty="0"/>
                  </a:p>
                </p:txBody>
              </p:sp>
              <p:cxnSp>
                <p:nvCxnSpPr>
                  <p:cNvPr id="84" name="Connecteur droit avec flèche 83">
                    <a:extLst>
                      <a:ext uri="{FF2B5EF4-FFF2-40B4-BE49-F238E27FC236}">
                        <a16:creationId xmlns:a16="http://schemas.microsoft.com/office/drawing/2014/main" id="{278A283A-2674-9E4E-93D0-55E82B912E6D}"/>
                      </a:ext>
                    </a:extLst>
                  </p:cNvPr>
                  <p:cNvCxnSpPr>
                    <a:cxnSpLocks/>
                  </p:cNvCxnSpPr>
                  <p:nvPr/>
                </p:nvCxnSpPr>
                <p:spPr>
                  <a:xfrm>
                    <a:off x="6100945" y="3367194"/>
                    <a:ext cx="0" cy="3335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grpSp>
          <p:grpSp>
            <p:nvGrpSpPr>
              <p:cNvPr id="968" name="Groupe 967">
                <a:extLst>
                  <a:ext uri="{FF2B5EF4-FFF2-40B4-BE49-F238E27FC236}">
                    <a16:creationId xmlns:a16="http://schemas.microsoft.com/office/drawing/2014/main" id="{38381024-6355-1840-ABF0-8560B46D76AA}"/>
                  </a:ext>
                </a:extLst>
              </p:cNvPr>
              <p:cNvGrpSpPr/>
              <p:nvPr/>
            </p:nvGrpSpPr>
            <p:grpSpPr>
              <a:xfrm>
                <a:off x="7223557" y="1517657"/>
                <a:ext cx="3569675" cy="2507102"/>
                <a:chOff x="6027225" y="1843912"/>
                <a:chExt cx="3407111" cy="2927172"/>
              </a:xfrm>
            </p:grpSpPr>
            <p:cxnSp>
              <p:nvCxnSpPr>
                <p:cNvPr id="71" name="Connecteur droit avec flèche 70">
                  <a:extLst>
                    <a:ext uri="{FF2B5EF4-FFF2-40B4-BE49-F238E27FC236}">
                      <a16:creationId xmlns:a16="http://schemas.microsoft.com/office/drawing/2014/main" id="{63B5B6A5-3707-CB4E-A78C-3BF9E1831A16}"/>
                    </a:ext>
                  </a:extLst>
                </p:cNvPr>
                <p:cNvCxnSpPr>
                  <a:cxnSpLocks/>
                </p:cNvCxnSpPr>
                <p:nvPr/>
              </p:nvCxnSpPr>
              <p:spPr>
                <a:xfrm>
                  <a:off x="6027225" y="3286080"/>
                  <a:ext cx="39835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72" name="Accolade fermante 71">
                  <a:extLst>
                    <a:ext uri="{FF2B5EF4-FFF2-40B4-BE49-F238E27FC236}">
                      <a16:creationId xmlns:a16="http://schemas.microsoft.com/office/drawing/2014/main" id="{A3BD4B7D-A725-5B46-ADF4-2A53869D35B1}"/>
                    </a:ext>
                  </a:extLst>
                </p:cNvPr>
                <p:cNvSpPr/>
                <p:nvPr/>
              </p:nvSpPr>
              <p:spPr>
                <a:xfrm rot="10800000">
                  <a:off x="6472027" y="1907332"/>
                  <a:ext cx="462423" cy="2841784"/>
                </a:xfrm>
                <a:prstGeom prst="rightBrace">
                  <a:avLst>
                    <a:gd name="adj1" fmla="val 8333"/>
                    <a:gd name="adj2" fmla="val 51876"/>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a:ln w="0"/>
                    <a:effectLst>
                      <a:outerShdw blurRad="38100" dist="19050" dir="2700000" algn="tl" rotWithShape="0">
                        <a:schemeClr val="dk1">
                          <a:alpha val="40000"/>
                        </a:schemeClr>
                      </a:outerShdw>
                    </a:effectLst>
                  </a:endParaRPr>
                </a:p>
              </p:txBody>
            </p:sp>
            <p:grpSp>
              <p:nvGrpSpPr>
                <p:cNvPr id="961" name="Groupe 960">
                  <a:extLst>
                    <a:ext uri="{FF2B5EF4-FFF2-40B4-BE49-F238E27FC236}">
                      <a16:creationId xmlns:a16="http://schemas.microsoft.com/office/drawing/2014/main" id="{826267E4-9A79-2848-A725-5C0FF6DD7975}"/>
                    </a:ext>
                  </a:extLst>
                </p:cNvPr>
                <p:cNvGrpSpPr/>
                <p:nvPr/>
              </p:nvGrpSpPr>
              <p:grpSpPr>
                <a:xfrm>
                  <a:off x="6966131" y="1843912"/>
                  <a:ext cx="2468205" cy="440567"/>
                  <a:chOff x="8294533" y="2507889"/>
                  <a:chExt cx="2420434" cy="440567"/>
                </a:xfrm>
              </p:grpSpPr>
              <p:pic>
                <p:nvPicPr>
                  <p:cNvPr id="70666" name="Picture 10" descr="JPG file format variant - Free interface icons">
                    <a:extLst>
                      <a:ext uri="{FF2B5EF4-FFF2-40B4-BE49-F238E27FC236}">
                        <a16:creationId xmlns:a16="http://schemas.microsoft.com/office/drawing/2014/main" id="{9C49F743-AB8A-E84D-8C3D-F51BEE245D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94533" y="2507889"/>
                    <a:ext cx="398968" cy="398967"/>
                  </a:xfrm>
                  <a:prstGeom prst="rect">
                    <a:avLst/>
                  </a:prstGeom>
                  <a:noFill/>
                  <a:extLst>
                    <a:ext uri="{909E8E84-426E-40DD-AFC4-6F175D3DCCD1}">
                      <a14:hiddenFill xmlns:a14="http://schemas.microsoft.com/office/drawing/2010/main">
                        <a:solidFill>
                          <a:srgbClr val="FFFFFF"/>
                        </a:solidFill>
                      </a14:hiddenFill>
                    </a:ext>
                  </a:extLst>
                </p:spPr>
              </p:pic>
              <p:sp>
                <p:nvSpPr>
                  <p:cNvPr id="960" name="ZoneTexte 959">
                    <a:extLst>
                      <a:ext uri="{FF2B5EF4-FFF2-40B4-BE49-F238E27FC236}">
                        <a16:creationId xmlns:a16="http://schemas.microsoft.com/office/drawing/2014/main" id="{A24E0D1D-40F8-B642-A217-DC91FBE4A254}"/>
                      </a:ext>
                    </a:extLst>
                  </p:cNvPr>
                  <p:cNvSpPr txBox="1"/>
                  <p:nvPr/>
                </p:nvSpPr>
                <p:spPr>
                  <a:xfrm>
                    <a:off x="8620976" y="2625045"/>
                    <a:ext cx="2093991" cy="323411"/>
                  </a:xfrm>
                  <a:prstGeom prst="rect">
                    <a:avLst/>
                  </a:prstGeom>
                  <a:noFill/>
                </p:spPr>
                <p:txBody>
                  <a:bodyPr wrap="square" rtlCol="0">
                    <a:spAutoFit/>
                  </a:bodyPr>
                  <a:lstStyle/>
                  <a:p>
                    <a:r>
                      <a:rPr lang="fr-FR" sz="1200" dirty="0" err="1"/>
                      <a:t>Ech</a:t>
                    </a:r>
                    <a:r>
                      <a:rPr lang="fr-FR" sz="1200" dirty="0"/>
                      <a:t>. Train </a:t>
                    </a:r>
                    <a:endParaRPr lang="fr-FR" sz="1200" b="1" dirty="0"/>
                  </a:p>
                </p:txBody>
              </p:sp>
            </p:grpSp>
            <p:grpSp>
              <p:nvGrpSpPr>
                <p:cNvPr id="77" name="Groupe 76">
                  <a:extLst>
                    <a:ext uri="{FF2B5EF4-FFF2-40B4-BE49-F238E27FC236}">
                      <a16:creationId xmlns:a16="http://schemas.microsoft.com/office/drawing/2014/main" id="{4D3ACA54-CFB4-8E4C-9981-445D7BD4838E}"/>
                    </a:ext>
                  </a:extLst>
                </p:cNvPr>
                <p:cNvGrpSpPr/>
                <p:nvPr/>
              </p:nvGrpSpPr>
              <p:grpSpPr>
                <a:xfrm>
                  <a:off x="6966131" y="2307138"/>
                  <a:ext cx="2215860" cy="416503"/>
                  <a:chOff x="8286658" y="2507889"/>
                  <a:chExt cx="2215860" cy="416503"/>
                </a:xfrm>
              </p:grpSpPr>
              <p:pic>
                <p:nvPicPr>
                  <p:cNvPr id="78" name="Picture 10" descr="JPG file format variant - Free interface icons">
                    <a:extLst>
                      <a:ext uri="{FF2B5EF4-FFF2-40B4-BE49-F238E27FC236}">
                        <a16:creationId xmlns:a16="http://schemas.microsoft.com/office/drawing/2014/main" id="{9AF351FF-88E7-FF4B-8306-BC4A2C2C86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6658" y="2507889"/>
                    <a:ext cx="406842" cy="406842"/>
                  </a:xfrm>
                  <a:prstGeom prst="rect">
                    <a:avLst/>
                  </a:prstGeom>
                  <a:noFill/>
                  <a:extLst>
                    <a:ext uri="{909E8E84-426E-40DD-AFC4-6F175D3DCCD1}">
                      <a14:hiddenFill xmlns:a14="http://schemas.microsoft.com/office/drawing/2010/main">
                        <a:solidFill>
                          <a:srgbClr val="FFFFFF"/>
                        </a:solidFill>
                      </a14:hiddenFill>
                    </a:ext>
                  </a:extLst>
                </p:spPr>
              </p:pic>
              <p:sp>
                <p:nvSpPr>
                  <p:cNvPr id="79" name="ZoneTexte 78">
                    <a:extLst>
                      <a:ext uri="{FF2B5EF4-FFF2-40B4-BE49-F238E27FC236}">
                        <a16:creationId xmlns:a16="http://schemas.microsoft.com/office/drawing/2014/main" id="{C03E7FD2-CF6D-3A4B-8D27-1BBAEE504D2D}"/>
                      </a:ext>
                    </a:extLst>
                  </p:cNvPr>
                  <p:cNvSpPr txBox="1"/>
                  <p:nvPr/>
                </p:nvSpPr>
                <p:spPr>
                  <a:xfrm>
                    <a:off x="8621443" y="2600981"/>
                    <a:ext cx="1881075" cy="323411"/>
                  </a:xfrm>
                  <a:prstGeom prst="rect">
                    <a:avLst/>
                  </a:prstGeom>
                  <a:noFill/>
                </p:spPr>
                <p:txBody>
                  <a:bodyPr wrap="square" rtlCol="0">
                    <a:spAutoFit/>
                  </a:bodyPr>
                  <a:lstStyle/>
                  <a:p>
                    <a:r>
                      <a:rPr lang="fr-FR" sz="1200" dirty="0" err="1"/>
                      <a:t>Ech</a:t>
                    </a:r>
                    <a:r>
                      <a:rPr lang="fr-FR" sz="1200" dirty="0"/>
                      <a:t>. Test</a:t>
                    </a:r>
                    <a:endParaRPr lang="fr-FR" sz="1200" b="1" dirty="0"/>
                  </a:p>
                </p:txBody>
              </p:sp>
            </p:grpSp>
            <p:grpSp>
              <p:nvGrpSpPr>
                <p:cNvPr id="80" name="Groupe 79">
                  <a:extLst>
                    <a:ext uri="{FF2B5EF4-FFF2-40B4-BE49-F238E27FC236}">
                      <a16:creationId xmlns:a16="http://schemas.microsoft.com/office/drawing/2014/main" id="{DCAED770-335A-8B4B-9078-F491DD0E0F2E}"/>
                    </a:ext>
                  </a:extLst>
                </p:cNvPr>
                <p:cNvGrpSpPr/>
                <p:nvPr/>
              </p:nvGrpSpPr>
              <p:grpSpPr>
                <a:xfrm>
                  <a:off x="6966131" y="2786227"/>
                  <a:ext cx="2041299" cy="554757"/>
                  <a:chOff x="8286658" y="2507889"/>
                  <a:chExt cx="2041299" cy="554757"/>
                </a:xfrm>
              </p:grpSpPr>
              <p:pic>
                <p:nvPicPr>
                  <p:cNvPr id="81" name="Picture 10" descr="JPG file format variant - Free interface icons">
                    <a:extLst>
                      <a:ext uri="{FF2B5EF4-FFF2-40B4-BE49-F238E27FC236}">
                        <a16:creationId xmlns:a16="http://schemas.microsoft.com/office/drawing/2014/main" id="{D1753EB1-7106-2D4B-A27C-5866B835F1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6658" y="2507889"/>
                    <a:ext cx="406842" cy="406842"/>
                  </a:xfrm>
                  <a:prstGeom prst="rect">
                    <a:avLst/>
                  </a:prstGeom>
                  <a:noFill/>
                  <a:extLst>
                    <a:ext uri="{909E8E84-426E-40DD-AFC4-6F175D3DCCD1}">
                      <a14:hiddenFill xmlns:a14="http://schemas.microsoft.com/office/drawing/2010/main">
                        <a:solidFill>
                          <a:srgbClr val="FFFFFF"/>
                        </a:solidFill>
                      </a14:hiddenFill>
                    </a:ext>
                  </a:extLst>
                </p:spPr>
              </p:pic>
              <p:sp>
                <p:nvSpPr>
                  <p:cNvPr id="82" name="ZoneTexte 81">
                    <a:extLst>
                      <a:ext uri="{FF2B5EF4-FFF2-40B4-BE49-F238E27FC236}">
                        <a16:creationId xmlns:a16="http://schemas.microsoft.com/office/drawing/2014/main" id="{D01AFC94-BACC-564A-B39F-CA48BDC59A41}"/>
                      </a:ext>
                    </a:extLst>
                  </p:cNvPr>
                  <p:cNvSpPr txBox="1"/>
                  <p:nvPr/>
                </p:nvSpPr>
                <p:spPr>
                  <a:xfrm>
                    <a:off x="8609411" y="2600981"/>
                    <a:ext cx="1718546" cy="461665"/>
                  </a:xfrm>
                  <a:prstGeom prst="rect">
                    <a:avLst/>
                  </a:prstGeom>
                  <a:noFill/>
                </p:spPr>
                <p:txBody>
                  <a:bodyPr wrap="square" rtlCol="0">
                    <a:spAutoFit/>
                  </a:bodyPr>
                  <a:lstStyle/>
                  <a:p>
                    <a:r>
                      <a:rPr lang="fr-FR" sz="1200" dirty="0"/>
                      <a:t> </a:t>
                    </a:r>
                    <a:r>
                      <a:rPr lang="fr-FR" sz="1200" dirty="0" err="1"/>
                      <a:t>Ech</a:t>
                    </a:r>
                    <a:r>
                      <a:rPr lang="fr-FR" sz="1200" dirty="0"/>
                      <a:t>. de modèles de voitures </a:t>
                    </a:r>
                  </a:p>
                </p:txBody>
              </p:sp>
            </p:grpSp>
            <p:grpSp>
              <p:nvGrpSpPr>
                <p:cNvPr id="967" name="Groupe 966">
                  <a:extLst>
                    <a:ext uri="{FF2B5EF4-FFF2-40B4-BE49-F238E27FC236}">
                      <a16:creationId xmlns:a16="http://schemas.microsoft.com/office/drawing/2014/main" id="{8D72C720-7197-6246-A965-9A973C3BB3FA}"/>
                    </a:ext>
                  </a:extLst>
                </p:cNvPr>
                <p:cNvGrpSpPr/>
                <p:nvPr/>
              </p:nvGrpSpPr>
              <p:grpSpPr>
                <a:xfrm>
                  <a:off x="6966131" y="3505911"/>
                  <a:ext cx="1565001" cy="468797"/>
                  <a:chOff x="7076557" y="3633953"/>
                  <a:chExt cx="1565001" cy="455433"/>
                </a:xfrm>
              </p:grpSpPr>
              <p:pic>
                <p:nvPicPr>
                  <p:cNvPr id="70670" name="Picture 14" descr="Extension De Format De Fichier Csv | Icons Gratuite">
                    <a:extLst>
                      <a:ext uri="{FF2B5EF4-FFF2-40B4-BE49-F238E27FC236}">
                        <a16:creationId xmlns:a16="http://schemas.microsoft.com/office/drawing/2014/main" id="{A711A17F-5AD0-CC4B-964C-5FA8CFF9C8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76557" y="3633953"/>
                    <a:ext cx="356421" cy="356421"/>
                  </a:xfrm>
                  <a:prstGeom prst="rect">
                    <a:avLst/>
                  </a:prstGeom>
                  <a:noFill/>
                  <a:extLst>
                    <a:ext uri="{909E8E84-426E-40DD-AFC4-6F175D3DCCD1}">
                      <a14:hiddenFill xmlns:a14="http://schemas.microsoft.com/office/drawing/2010/main">
                        <a:solidFill>
                          <a:srgbClr val="FFFFFF"/>
                        </a:solidFill>
                      </a14:hiddenFill>
                    </a:ext>
                  </a:extLst>
                </p:spPr>
              </p:pic>
              <p:sp>
                <p:nvSpPr>
                  <p:cNvPr id="966" name="ZoneTexte 965">
                    <a:extLst>
                      <a:ext uri="{FF2B5EF4-FFF2-40B4-BE49-F238E27FC236}">
                        <a16:creationId xmlns:a16="http://schemas.microsoft.com/office/drawing/2014/main" id="{5E134286-B0CB-4E4B-9873-45222DCAF837}"/>
                      </a:ext>
                    </a:extLst>
                  </p:cNvPr>
                  <p:cNvSpPr txBox="1"/>
                  <p:nvPr/>
                </p:nvSpPr>
                <p:spPr>
                  <a:xfrm>
                    <a:off x="7432979" y="3775195"/>
                    <a:ext cx="1208579" cy="314191"/>
                  </a:xfrm>
                  <a:prstGeom prst="rect">
                    <a:avLst/>
                  </a:prstGeom>
                  <a:noFill/>
                </p:spPr>
                <p:txBody>
                  <a:bodyPr wrap="none" rtlCol="0">
                    <a:spAutoFit/>
                  </a:bodyPr>
                  <a:lstStyle/>
                  <a:p>
                    <a:r>
                      <a:rPr lang="fr-FR" sz="1200" dirty="0"/>
                      <a:t>Labels du Train</a:t>
                    </a:r>
                  </a:p>
                </p:txBody>
              </p:sp>
            </p:grpSp>
            <p:grpSp>
              <p:nvGrpSpPr>
                <p:cNvPr id="92" name="Groupe 91">
                  <a:extLst>
                    <a:ext uri="{FF2B5EF4-FFF2-40B4-BE49-F238E27FC236}">
                      <a16:creationId xmlns:a16="http://schemas.microsoft.com/office/drawing/2014/main" id="{F36FCF44-F34E-0343-8841-FBE5D91ED065}"/>
                    </a:ext>
                  </a:extLst>
                </p:cNvPr>
                <p:cNvGrpSpPr/>
                <p:nvPr/>
              </p:nvGrpSpPr>
              <p:grpSpPr>
                <a:xfrm>
                  <a:off x="6966131" y="3917018"/>
                  <a:ext cx="1541579" cy="464655"/>
                  <a:chOff x="7041717" y="3633953"/>
                  <a:chExt cx="1541579" cy="464655"/>
                </a:xfrm>
              </p:grpSpPr>
              <p:pic>
                <p:nvPicPr>
                  <p:cNvPr id="93" name="Picture 14" descr="Extension De Format De Fichier Csv | Icons Gratuite">
                    <a:extLst>
                      <a:ext uri="{FF2B5EF4-FFF2-40B4-BE49-F238E27FC236}">
                        <a16:creationId xmlns:a16="http://schemas.microsoft.com/office/drawing/2014/main" id="{A74AA785-FB4E-BC48-BC11-684F5F1E1A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1717" y="3633953"/>
                    <a:ext cx="379229" cy="379229"/>
                  </a:xfrm>
                  <a:prstGeom prst="rect">
                    <a:avLst/>
                  </a:prstGeom>
                  <a:noFill/>
                  <a:extLst>
                    <a:ext uri="{909E8E84-426E-40DD-AFC4-6F175D3DCCD1}">
                      <a14:hiddenFill xmlns:a14="http://schemas.microsoft.com/office/drawing/2010/main">
                        <a:solidFill>
                          <a:srgbClr val="FFFFFF"/>
                        </a:solidFill>
                      </a14:hiddenFill>
                    </a:ext>
                  </a:extLst>
                </p:spPr>
              </p:pic>
              <p:sp>
                <p:nvSpPr>
                  <p:cNvPr id="94" name="ZoneTexte 93">
                    <a:extLst>
                      <a:ext uri="{FF2B5EF4-FFF2-40B4-BE49-F238E27FC236}">
                        <a16:creationId xmlns:a16="http://schemas.microsoft.com/office/drawing/2014/main" id="{38B91D5A-0DD9-534D-A02A-6802B56BB692}"/>
                      </a:ext>
                    </a:extLst>
                  </p:cNvPr>
                  <p:cNvSpPr txBox="1"/>
                  <p:nvPr/>
                </p:nvSpPr>
                <p:spPr>
                  <a:xfrm>
                    <a:off x="7432979" y="3775197"/>
                    <a:ext cx="1150317" cy="323411"/>
                  </a:xfrm>
                  <a:prstGeom prst="rect">
                    <a:avLst/>
                  </a:prstGeom>
                  <a:noFill/>
                </p:spPr>
                <p:txBody>
                  <a:bodyPr wrap="none" rtlCol="0">
                    <a:spAutoFit/>
                  </a:bodyPr>
                  <a:lstStyle/>
                  <a:p>
                    <a:r>
                      <a:rPr lang="fr-FR" sz="1200" dirty="0"/>
                      <a:t>Labels du Test</a:t>
                    </a:r>
                  </a:p>
                </p:txBody>
              </p:sp>
            </p:grpSp>
            <p:grpSp>
              <p:nvGrpSpPr>
                <p:cNvPr id="95" name="Groupe 94">
                  <a:extLst>
                    <a:ext uri="{FF2B5EF4-FFF2-40B4-BE49-F238E27FC236}">
                      <a16:creationId xmlns:a16="http://schemas.microsoft.com/office/drawing/2014/main" id="{06A7F1FA-EBD0-6140-A865-27FF1955E177}"/>
                    </a:ext>
                  </a:extLst>
                </p:cNvPr>
                <p:cNvGrpSpPr/>
                <p:nvPr/>
              </p:nvGrpSpPr>
              <p:grpSpPr>
                <a:xfrm>
                  <a:off x="6966131" y="4352842"/>
                  <a:ext cx="1892786" cy="418242"/>
                  <a:chOff x="7053749" y="3633953"/>
                  <a:chExt cx="1892786" cy="418242"/>
                </a:xfrm>
              </p:grpSpPr>
              <p:pic>
                <p:nvPicPr>
                  <p:cNvPr id="96" name="Picture 14" descr="Extension De Format De Fichier Csv | Icons Gratuite">
                    <a:extLst>
                      <a:ext uri="{FF2B5EF4-FFF2-40B4-BE49-F238E27FC236}">
                        <a16:creationId xmlns:a16="http://schemas.microsoft.com/office/drawing/2014/main" id="{9797187C-CD50-D444-9911-5BE4AA3DA3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53749" y="3633953"/>
                    <a:ext cx="379229" cy="379229"/>
                  </a:xfrm>
                  <a:prstGeom prst="rect">
                    <a:avLst/>
                  </a:prstGeom>
                  <a:noFill/>
                  <a:extLst>
                    <a:ext uri="{909E8E84-426E-40DD-AFC4-6F175D3DCCD1}">
                      <a14:hiddenFill xmlns:a14="http://schemas.microsoft.com/office/drawing/2010/main">
                        <a:solidFill>
                          <a:srgbClr val="FFFFFF"/>
                        </a:solidFill>
                      </a14:hiddenFill>
                    </a:ext>
                  </a:extLst>
                </p:spPr>
              </p:pic>
              <p:sp>
                <p:nvSpPr>
                  <p:cNvPr id="97" name="ZoneTexte 96">
                    <a:extLst>
                      <a:ext uri="{FF2B5EF4-FFF2-40B4-BE49-F238E27FC236}">
                        <a16:creationId xmlns:a16="http://schemas.microsoft.com/office/drawing/2014/main" id="{B89E4745-F742-4D47-955D-87922F7272E6}"/>
                      </a:ext>
                    </a:extLst>
                  </p:cNvPr>
                  <p:cNvSpPr txBox="1"/>
                  <p:nvPr/>
                </p:nvSpPr>
                <p:spPr>
                  <a:xfrm>
                    <a:off x="7432979" y="3775196"/>
                    <a:ext cx="1513556" cy="276999"/>
                  </a:xfrm>
                  <a:prstGeom prst="rect">
                    <a:avLst/>
                  </a:prstGeom>
                  <a:noFill/>
                </p:spPr>
                <p:txBody>
                  <a:bodyPr wrap="none" rtlCol="0">
                    <a:spAutoFit/>
                  </a:bodyPr>
                  <a:lstStyle/>
                  <a:p>
                    <a:r>
                      <a:rPr lang="fr-FR" sz="1200" dirty="0"/>
                      <a:t>Empreinte Carbone</a:t>
                    </a:r>
                  </a:p>
                </p:txBody>
              </p:sp>
            </p:grpSp>
          </p:grpSp>
        </p:grpSp>
        <p:pic>
          <p:nvPicPr>
            <p:cNvPr id="116" name="Picture 2" descr="Base De Données Vectoriels et illustrations libres de droits - iStock">
              <a:extLst>
                <a:ext uri="{FF2B5EF4-FFF2-40B4-BE49-F238E27FC236}">
                  <a16:creationId xmlns:a16="http://schemas.microsoft.com/office/drawing/2014/main" id="{87A57C7C-5EC3-0145-B2D0-C9732B5C6A8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672" t="19018" r="20473" b="20399"/>
            <a:stretch/>
          </p:blipFill>
          <p:spPr bwMode="auto">
            <a:xfrm>
              <a:off x="3908559" y="1132709"/>
              <a:ext cx="873881" cy="91510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Base De Données Vectoriels et illustrations libres de droits - iStock">
              <a:extLst>
                <a:ext uri="{FF2B5EF4-FFF2-40B4-BE49-F238E27FC236}">
                  <a16:creationId xmlns:a16="http://schemas.microsoft.com/office/drawing/2014/main" id="{1BC1CE20-BEEE-6B48-AF24-1885E794842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672" t="19018" r="20473" b="20399"/>
            <a:stretch/>
          </p:blipFill>
          <p:spPr bwMode="auto">
            <a:xfrm>
              <a:off x="3927403" y="2220082"/>
              <a:ext cx="873881" cy="91510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Base De Données Vectoriels et illustrations libres de droits - iStock">
              <a:extLst>
                <a:ext uri="{FF2B5EF4-FFF2-40B4-BE49-F238E27FC236}">
                  <a16:creationId xmlns:a16="http://schemas.microsoft.com/office/drawing/2014/main" id="{A04E478A-6CC4-AB4F-BD35-C2F2F166A9F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672" t="19018" r="20473" b="20399"/>
            <a:stretch/>
          </p:blipFill>
          <p:spPr bwMode="auto">
            <a:xfrm>
              <a:off x="3968092" y="3312974"/>
              <a:ext cx="873881" cy="915102"/>
            </a:xfrm>
            <a:prstGeom prst="rect">
              <a:avLst/>
            </a:prstGeom>
            <a:noFill/>
            <a:extLst>
              <a:ext uri="{909E8E84-426E-40DD-AFC4-6F175D3DCCD1}">
                <a14:hiddenFill xmlns:a14="http://schemas.microsoft.com/office/drawing/2010/main">
                  <a:solidFill>
                    <a:srgbClr val="FFFFFF"/>
                  </a:solidFill>
                </a14:hiddenFill>
              </a:ext>
            </a:extLst>
          </p:spPr>
        </p:pic>
      </p:grpSp>
      <p:pic>
        <p:nvPicPr>
          <p:cNvPr id="123" name="Picture 24" descr="Icône Groupe Gratuit - Icon-Icons.com">
            <a:extLst>
              <a:ext uri="{FF2B5EF4-FFF2-40B4-BE49-F238E27FC236}">
                <a16:creationId xmlns:a16="http://schemas.microsoft.com/office/drawing/2014/main" id="{4A90ABBC-B271-E743-A325-ABEB263857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86149" y="4700761"/>
            <a:ext cx="414405" cy="414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7458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2" name="Groupe 961">
            <a:extLst>
              <a:ext uri="{FF2B5EF4-FFF2-40B4-BE49-F238E27FC236}">
                <a16:creationId xmlns:a16="http://schemas.microsoft.com/office/drawing/2014/main" id="{6A4B8DD6-10D0-4344-9B0A-D4310275B123}"/>
              </a:ext>
            </a:extLst>
          </p:cNvPr>
          <p:cNvGrpSpPr/>
          <p:nvPr/>
        </p:nvGrpSpPr>
        <p:grpSpPr>
          <a:xfrm>
            <a:off x="1040040" y="2142177"/>
            <a:ext cx="9343212" cy="3755961"/>
            <a:chOff x="1232546" y="2142177"/>
            <a:chExt cx="9343212" cy="3755961"/>
          </a:xfrm>
        </p:grpSpPr>
        <p:grpSp>
          <p:nvGrpSpPr>
            <p:cNvPr id="12" name="Groupe 11">
              <a:extLst>
                <a:ext uri="{FF2B5EF4-FFF2-40B4-BE49-F238E27FC236}">
                  <a16:creationId xmlns:a16="http://schemas.microsoft.com/office/drawing/2014/main" id="{C6CE27EB-D45A-6347-A82D-D9BD79342CBC}"/>
                </a:ext>
              </a:extLst>
            </p:cNvPr>
            <p:cNvGrpSpPr/>
            <p:nvPr/>
          </p:nvGrpSpPr>
          <p:grpSpPr>
            <a:xfrm>
              <a:off x="1232546" y="2142177"/>
              <a:ext cx="9343212" cy="3755961"/>
              <a:chOff x="-4" y="1016460"/>
              <a:chExt cx="12334910" cy="4882826"/>
            </a:xfrm>
          </p:grpSpPr>
          <p:sp>
            <p:nvSpPr>
              <p:cNvPr id="50" name="Rectangle 49">
                <a:extLst>
                  <a:ext uri="{FF2B5EF4-FFF2-40B4-BE49-F238E27FC236}">
                    <a16:creationId xmlns:a16="http://schemas.microsoft.com/office/drawing/2014/main" id="{A08BEE6A-B8BD-C14E-BFF2-3F1F34FACCA2}"/>
                  </a:ext>
                </a:extLst>
              </p:cNvPr>
              <p:cNvSpPr/>
              <p:nvPr/>
            </p:nvSpPr>
            <p:spPr>
              <a:xfrm>
                <a:off x="5839934" y="4983182"/>
                <a:ext cx="6494972" cy="608686"/>
              </a:xfrm>
              <a:prstGeom prst="rect">
                <a:avLst/>
              </a:prstGeom>
              <a:solidFill>
                <a:srgbClr val="CB1B4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 name="Block Arc 7">
                <a:extLst>
                  <a:ext uri="{FF2B5EF4-FFF2-40B4-BE49-F238E27FC236}">
                    <a16:creationId xmlns:a16="http://schemas.microsoft.com/office/drawing/2014/main" id="{D78B6C51-930D-6144-827C-EA35BB989235}"/>
                  </a:ext>
                </a:extLst>
              </p:cNvPr>
              <p:cNvSpPr/>
              <p:nvPr/>
            </p:nvSpPr>
            <p:spPr>
              <a:xfrm rot="15300000" flipH="1">
                <a:off x="3955146" y="1316093"/>
                <a:ext cx="4281705" cy="4281705"/>
              </a:xfrm>
              <a:prstGeom prst="blockArc">
                <a:avLst>
                  <a:gd name="adj1" fmla="val 9123518"/>
                  <a:gd name="adj2" fmla="val 21023171"/>
                  <a:gd name="adj3" fmla="val 14424"/>
                </a:avLst>
              </a:prstGeom>
              <a:solidFill>
                <a:srgbClr val="CB1B4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a typeface="+mn-ea"/>
                  <a:cs typeface="+mn-cs"/>
                </a:endParaRPr>
              </a:p>
            </p:txBody>
          </p:sp>
          <p:sp>
            <p:nvSpPr>
              <p:cNvPr id="54" name="Arrow: Circular 6">
                <a:extLst>
                  <a:ext uri="{FF2B5EF4-FFF2-40B4-BE49-F238E27FC236}">
                    <a16:creationId xmlns:a16="http://schemas.microsoft.com/office/drawing/2014/main" id="{C797B06D-2BB5-BC44-838F-903D27880416}"/>
                  </a:ext>
                </a:extLst>
              </p:cNvPr>
              <p:cNvSpPr/>
              <p:nvPr/>
            </p:nvSpPr>
            <p:spPr>
              <a:xfrm rot="5232764" flipH="1">
                <a:off x="3635555" y="997405"/>
                <a:ext cx="4882826" cy="4920935"/>
              </a:xfrm>
              <a:prstGeom prst="circularArrow">
                <a:avLst>
                  <a:gd name="adj1" fmla="val 12500"/>
                  <a:gd name="adj2" fmla="val 1097609"/>
                  <a:gd name="adj3" fmla="val 20457681"/>
                  <a:gd name="adj4" fmla="val 10800000"/>
                  <a:gd name="adj5" fmla="val 12500"/>
                </a:avLst>
              </a:prstGeom>
              <a:solidFill>
                <a:srgbClr val="074D67">
                  <a:lumMod val="50000"/>
                </a:srgbClr>
              </a:solidFill>
              <a:ln w="12700" cap="flat" cmpd="sng" algn="ctr">
                <a:solidFill>
                  <a:srgbClr val="074D6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2DC0AFD-9347-D842-B269-3FA0A849C33F}"/>
                  </a:ext>
                </a:extLst>
              </p:cNvPr>
              <p:cNvSpPr/>
              <p:nvPr/>
            </p:nvSpPr>
            <p:spPr>
              <a:xfrm>
                <a:off x="-4" y="4983183"/>
                <a:ext cx="6200971" cy="608686"/>
              </a:xfrm>
              <a:prstGeom prst="rect">
                <a:avLst/>
              </a:prstGeom>
              <a:solidFill>
                <a:srgbClr val="074D67">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57" name="Group 70">
              <a:extLst>
                <a:ext uri="{FF2B5EF4-FFF2-40B4-BE49-F238E27FC236}">
                  <a16:creationId xmlns:a16="http://schemas.microsoft.com/office/drawing/2014/main" id="{EB237B7E-6F31-E64B-ADBF-978E7DD5D44A}"/>
                </a:ext>
              </a:extLst>
            </p:cNvPr>
            <p:cNvGrpSpPr/>
            <p:nvPr/>
          </p:nvGrpSpPr>
          <p:grpSpPr>
            <a:xfrm>
              <a:off x="5177256" y="2981676"/>
              <a:ext cx="1504566" cy="1937198"/>
              <a:chOff x="2050732" y="1266266"/>
              <a:chExt cx="3359467" cy="4325468"/>
            </a:xfrm>
            <a:solidFill>
              <a:srgbClr val="282F39"/>
            </a:solidFill>
          </p:grpSpPr>
          <p:grpSp>
            <p:nvGrpSpPr>
              <p:cNvPr id="58" name="Group 71">
                <a:extLst>
                  <a:ext uri="{FF2B5EF4-FFF2-40B4-BE49-F238E27FC236}">
                    <a16:creationId xmlns:a16="http://schemas.microsoft.com/office/drawing/2014/main" id="{9821BE3A-077F-7B40-9068-F12DF67111E6}"/>
                  </a:ext>
                </a:extLst>
              </p:cNvPr>
              <p:cNvGrpSpPr/>
              <p:nvPr/>
            </p:nvGrpSpPr>
            <p:grpSpPr>
              <a:xfrm>
                <a:off x="2050732" y="1266266"/>
                <a:ext cx="3359467" cy="4325468"/>
                <a:chOff x="5230813" y="2312988"/>
                <a:chExt cx="1733550" cy="2232025"/>
              </a:xfrm>
              <a:grpFill/>
            </p:grpSpPr>
            <p:sp>
              <p:nvSpPr>
                <p:cNvPr id="66" name="Freeform 6">
                  <a:extLst>
                    <a:ext uri="{FF2B5EF4-FFF2-40B4-BE49-F238E27FC236}">
                      <a16:creationId xmlns:a16="http://schemas.microsoft.com/office/drawing/2014/main" id="{80754A3F-0ACA-9D4F-9CC0-0A111C80621A}"/>
                    </a:ext>
                  </a:extLst>
                </p:cNvPr>
                <p:cNvSpPr>
                  <a:spLocks/>
                </p:cNvSpPr>
                <p:nvPr/>
              </p:nvSpPr>
              <p:spPr bwMode="auto">
                <a:xfrm>
                  <a:off x="5243513" y="4191001"/>
                  <a:ext cx="41275" cy="60325"/>
                </a:xfrm>
                <a:custGeom>
                  <a:avLst/>
                  <a:gdLst>
                    <a:gd name="T0" fmla="*/ 0 w 13"/>
                    <a:gd name="T1" fmla="*/ 3 h 19"/>
                    <a:gd name="T2" fmla="*/ 4 w 13"/>
                    <a:gd name="T3" fmla="*/ 0 h 19"/>
                    <a:gd name="T4" fmla="*/ 10 w 13"/>
                    <a:gd name="T5" fmla="*/ 5 h 19"/>
                    <a:gd name="T6" fmla="*/ 5 w 13"/>
                    <a:gd name="T7" fmla="*/ 18 h 19"/>
                    <a:gd name="T8" fmla="*/ 0 w 13"/>
                    <a:gd name="T9" fmla="*/ 15 h 19"/>
                    <a:gd name="T10" fmla="*/ 0 w 13"/>
                    <a:gd name="T11" fmla="*/ 3 h 19"/>
                  </a:gdLst>
                  <a:ahLst/>
                  <a:cxnLst>
                    <a:cxn ang="0">
                      <a:pos x="T0" y="T1"/>
                    </a:cxn>
                    <a:cxn ang="0">
                      <a:pos x="T2" y="T3"/>
                    </a:cxn>
                    <a:cxn ang="0">
                      <a:pos x="T4" y="T5"/>
                    </a:cxn>
                    <a:cxn ang="0">
                      <a:pos x="T6" y="T7"/>
                    </a:cxn>
                    <a:cxn ang="0">
                      <a:pos x="T8" y="T9"/>
                    </a:cxn>
                    <a:cxn ang="0">
                      <a:pos x="T10" y="T11"/>
                    </a:cxn>
                  </a:cxnLst>
                  <a:rect l="0" t="0" r="r" b="b"/>
                  <a:pathLst>
                    <a:path w="13" h="19">
                      <a:moveTo>
                        <a:pt x="0" y="3"/>
                      </a:moveTo>
                      <a:cubicBezTo>
                        <a:pt x="2" y="2"/>
                        <a:pt x="3" y="1"/>
                        <a:pt x="4" y="0"/>
                      </a:cubicBezTo>
                      <a:cubicBezTo>
                        <a:pt x="6" y="2"/>
                        <a:pt x="8" y="3"/>
                        <a:pt x="10" y="5"/>
                      </a:cubicBezTo>
                      <a:cubicBezTo>
                        <a:pt x="13" y="10"/>
                        <a:pt x="11" y="17"/>
                        <a:pt x="5" y="18"/>
                      </a:cubicBezTo>
                      <a:cubicBezTo>
                        <a:pt x="4" y="19"/>
                        <a:pt x="2" y="17"/>
                        <a:pt x="0" y="15"/>
                      </a:cubicBezTo>
                      <a:cubicBezTo>
                        <a:pt x="7" y="11"/>
                        <a:pt x="5" y="7"/>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sp>
              <p:nvSpPr>
                <p:cNvPr id="67" name="Freeform 7">
                  <a:extLst>
                    <a:ext uri="{FF2B5EF4-FFF2-40B4-BE49-F238E27FC236}">
                      <a16:creationId xmlns:a16="http://schemas.microsoft.com/office/drawing/2014/main" id="{20F03A35-540E-AC41-8183-236B4F0A39CD}"/>
                    </a:ext>
                  </a:extLst>
                </p:cNvPr>
                <p:cNvSpPr>
                  <a:spLocks/>
                </p:cNvSpPr>
                <p:nvPr/>
              </p:nvSpPr>
              <p:spPr bwMode="auto">
                <a:xfrm>
                  <a:off x="6575426" y="2944813"/>
                  <a:ext cx="28575" cy="34925"/>
                </a:xfrm>
                <a:custGeom>
                  <a:avLst/>
                  <a:gdLst>
                    <a:gd name="T0" fmla="*/ 0 w 9"/>
                    <a:gd name="T1" fmla="*/ 10 h 11"/>
                    <a:gd name="T2" fmla="*/ 2 w 9"/>
                    <a:gd name="T3" fmla="*/ 1 h 11"/>
                    <a:gd name="T4" fmla="*/ 8 w 9"/>
                    <a:gd name="T5" fmla="*/ 1 h 11"/>
                    <a:gd name="T6" fmla="*/ 9 w 9"/>
                    <a:gd name="T7" fmla="*/ 3 h 11"/>
                    <a:gd name="T8" fmla="*/ 8 w 9"/>
                    <a:gd name="T9" fmla="*/ 4 h 11"/>
                    <a:gd name="T10" fmla="*/ 2 w 9"/>
                    <a:gd name="T11" fmla="*/ 11 h 11"/>
                    <a:gd name="T12" fmla="*/ 0 w 9"/>
                    <a:gd name="T13" fmla="*/ 1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0" y="10"/>
                      </a:moveTo>
                      <a:cubicBezTo>
                        <a:pt x="1" y="7"/>
                        <a:pt x="1" y="4"/>
                        <a:pt x="2" y="1"/>
                      </a:cubicBezTo>
                      <a:cubicBezTo>
                        <a:pt x="2" y="0"/>
                        <a:pt x="6" y="1"/>
                        <a:pt x="8" y="1"/>
                      </a:cubicBezTo>
                      <a:cubicBezTo>
                        <a:pt x="9" y="1"/>
                        <a:pt x="9" y="2"/>
                        <a:pt x="9" y="3"/>
                      </a:cubicBezTo>
                      <a:cubicBezTo>
                        <a:pt x="9" y="3"/>
                        <a:pt x="8" y="4"/>
                        <a:pt x="8" y="4"/>
                      </a:cubicBezTo>
                      <a:cubicBezTo>
                        <a:pt x="3" y="3"/>
                        <a:pt x="2" y="7"/>
                        <a:pt x="2" y="11"/>
                      </a:cubicBezTo>
                      <a:cubicBezTo>
                        <a:pt x="1" y="11"/>
                        <a:pt x="1"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sp>
              <p:nvSpPr>
                <p:cNvPr id="68" name="Freeform 8">
                  <a:extLst>
                    <a:ext uri="{FF2B5EF4-FFF2-40B4-BE49-F238E27FC236}">
                      <a16:creationId xmlns:a16="http://schemas.microsoft.com/office/drawing/2014/main" id="{5573B2BB-7952-1141-95C0-2F4AF0CD1FEF}"/>
                    </a:ext>
                  </a:extLst>
                </p:cNvPr>
                <p:cNvSpPr>
                  <a:spLocks/>
                </p:cNvSpPr>
                <p:nvPr/>
              </p:nvSpPr>
              <p:spPr bwMode="auto">
                <a:xfrm>
                  <a:off x="6007101" y="3649663"/>
                  <a:ext cx="622300" cy="611188"/>
                </a:xfrm>
                <a:custGeom>
                  <a:avLst/>
                  <a:gdLst>
                    <a:gd name="T0" fmla="*/ 145 w 195"/>
                    <a:gd name="T1" fmla="*/ 111 h 192"/>
                    <a:gd name="T2" fmla="*/ 109 w 195"/>
                    <a:gd name="T3" fmla="*/ 179 h 192"/>
                    <a:gd name="T4" fmla="*/ 82 w 195"/>
                    <a:gd name="T5" fmla="*/ 183 h 192"/>
                    <a:gd name="T6" fmla="*/ 7 w 195"/>
                    <a:gd name="T7" fmla="*/ 107 h 192"/>
                    <a:gd name="T8" fmla="*/ 6 w 195"/>
                    <a:gd name="T9" fmla="*/ 84 h 192"/>
                    <a:gd name="T10" fmla="*/ 30 w 195"/>
                    <a:gd name="T11" fmla="*/ 85 h 192"/>
                    <a:gd name="T12" fmla="*/ 87 w 195"/>
                    <a:gd name="T13" fmla="*/ 142 h 192"/>
                    <a:gd name="T14" fmla="*/ 91 w 195"/>
                    <a:gd name="T15" fmla="*/ 146 h 192"/>
                    <a:gd name="T16" fmla="*/ 102 w 195"/>
                    <a:gd name="T17" fmla="*/ 124 h 192"/>
                    <a:gd name="T18" fmla="*/ 148 w 195"/>
                    <a:gd name="T19" fmla="*/ 39 h 192"/>
                    <a:gd name="T20" fmla="*/ 163 w 195"/>
                    <a:gd name="T21" fmla="*/ 11 h 192"/>
                    <a:gd name="T22" fmla="*/ 185 w 195"/>
                    <a:gd name="T23" fmla="*/ 3 h 192"/>
                    <a:gd name="T24" fmla="*/ 191 w 195"/>
                    <a:gd name="T25" fmla="*/ 26 h 192"/>
                    <a:gd name="T26" fmla="*/ 162 w 195"/>
                    <a:gd name="T27" fmla="*/ 79 h 192"/>
                    <a:gd name="T28" fmla="*/ 145 w 195"/>
                    <a:gd name="T29" fmla="*/ 11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92">
                      <a:moveTo>
                        <a:pt x="145" y="111"/>
                      </a:moveTo>
                      <a:cubicBezTo>
                        <a:pt x="133" y="134"/>
                        <a:pt x="121" y="157"/>
                        <a:pt x="109" y="179"/>
                      </a:cubicBezTo>
                      <a:cubicBezTo>
                        <a:pt x="103" y="190"/>
                        <a:pt x="91" y="192"/>
                        <a:pt x="82" y="183"/>
                      </a:cubicBezTo>
                      <a:cubicBezTo>
                        <a:pt x="57" y="158"/>
                        <a:pt x="32" y="132"/>
                        <a:pt x="7" y="107"/>
                      </a:cubicBezTo>
                      <a:cubicBezTo>
                        <a:pt x="0" y="100"/>
                        <a:pt x="1" y="89"/>
                        <a:pt x="6" y="84"/>
                      </a:cubicBezTo>
                      <a:cubicBezTo>
                        <a:pt x="13" y="77"/>
                        <a:pt x="23" y="78"/>
                        <a:pt x="30" y="85"/>
                      </a:cubicBezTo>
                      <a:cubicBezTo>
                        <a:pt x="49" y="104"/>
                        <a:pt x="68" y="123"/>
                        <a:pt x="87" y="142"/>
                      </a:cubicBezTo>
                      <a:cubicBezTo>
                        <a:pt x="88" y="143"/>
                        <a:pt x="89" y="144"/>
                        <a:pt x="91" y="146"/>
                      </a:cubicBezTo>
                      <a:cubicBezTo>
                        <a:pt x="95" y="138"/>
                        <a:pt x="98" y="131"/>
                        <a:pt x="102" y="124"/>
                      </a:cubicBezTo>
                      <a:cubicBezTo>
                        <a:pt x="117" y="96"/>
                        <a:pt x="132" y="68"/>
                        <a:pt x="148" y="39"/>
                      </a:cubicBezTo>
                      <a:cubicBezTo>
                        <a:pt x="153" y="30"/>
                        <a:pt x="158" y="20"/>
                        <a:pt x="163" y="11"/>
                      </a:cubicBezTo>
                      <a:cubicBezTo>
                        <a:pt x="168" y="1"/>
                        <a:pt x="178" y="0"/>
                        <a:pt x="185" y="3"/>
                      </a:cubicBezTo>
                      <a:cubicBezTo>
                        <a:pt x="193" y="7"/>
                        <a:pt x="195" y="18"/>
                        <a:pt x="191" y="26"/>
                      </a:cubicBezTo>
                      <a:cubicBezTo>
                        <a:pt x="182" y="44"/>
                        <a:pt x="172" y="62"/>
                        <a:pt x="162" y="79"/>
                      </a:cubicBezTo>
                      <a:cubicBezTo>
                        <a:pt x="161" y="82"/>
                        <a:pt x="149" y="105"/>
                        <a:pt x="145" y="1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F39"/>
                    </a:solidFill>
                    <a:effectLst/>
                    <a:uLnTx/>
                    <a:uFillTx/>
                    <a:latin typeface="Calibri" panose="020F0502020204030204"/>
                  </a:endParaRPr>
                </a:p>
              </p:txBody>
            </p:sp>
            <p:sp>
              <p:nvSpPr>
                <p:cNvPr id="69" name="Freeform 9">
                  <a:extLst>
                    <a:ext uri="{FF2B5EF4-FFF2-40B4-BE49-F238E27FC236}">
                      <a16:creationId xmlns:a16="http://schemas.microsoft.com/office/drawing/2014/main" id="{F39BFDA5-7DAF-834E-A389-0B1F5807A184}"/>
                    </a:ext>
                  </a:extLst>
                </p:cNvPr>
                <p:cNvSpPr>
                  <a:spLocks noEditPoints="1"/>
                </p:cNvSpPr>
                <p:nvPr/>
              </p:nvSpPr>
              <p:spPr bwMode="auto">
                <a:xfrm>
                  <a:off x="5230813" y="2312988"/>
                  <a:ext cx="1733550" cy="2232025"/>
                </a:xfrm>
                <a:custGeom>
                  <a:avLst/>
                  <a:gdLst>
                    <a:gd name="T0" fmla="*/ 519 w 543"/>
                    <a:gd name="T1" fmla="*/ 420 h 700"/>
                    <a:gd name="T2" fmla="*/ 452 w 543"/>
                    <a:gd name="T3" fmla="*/ 344 h 700"/>
                    <a:gd name="T4" fmla="*/ 451 w 543"/>
                    <a:gd name="T5" fmla="*/ 131 h 700"/>
                    <a:gd name="T6" fmla="*/ 353 w 543"/>
                    <a:gd name="T7" fmla="*/ 120 h 700"/>
                    <a:gd name="T8" fmla="*/ 350 w 543"/>
                    <a:gd name="T9" fmla="*/ 120 h 700"/>
                    <a:gd name="T10" fmla="*/ 347 w 543"/>
                    <a:gd name="T11" fmla="*/ 93 h 700"/>
                    <a:gd name="T12" fmla="*/ 309 w 543"/>
                    <a:gd name="T13" fmla="*/ 76 h 700"/>
                    <a:gd name="T14" fmla="*/ 273 w 543"/>
                    <a:gd name="T15" fmla="*/ 18 h 700"/>
                    <a:gd name="T16" fmla="*/ 261 w 543"/>
                    <a:gd name="T17" fmla="*/ 10 h 700"/>
                    <a:gd name="T18" fmla="*/ 234 w 543"/>
                    <a:gd name="T19" fmla="*/ 2 h 700"/>
                    <a:gd name="T20" fmla="*/ 231 w 543"/>
                    <a:gd name="T21" fmla="*/ 2 h 700"/>
                    <a:gd name="T22" fmla="*/ 150 w 543"/>
                    <a:gd name="T23" fmla="*/ 69 h 700"/>
                    <a:gd name="T24" fmla="*/ 123 w 543"/>
                    <a:gd name="T25" fmla="*/ 75 h 700"/>
                    <a:gd name="T26" fmla="*/ 105 w 543"/>
                    <a:gd name="T27" fmla="*/ 114 h 700"/>
                    <a:gd name="T28" fmla="*/ 18 w 543"/>
                    <a:gd name="T29" fmla="*/ 120 h 700"/>
                    <a:gd name="T30" fmla="*/ 0 w 543"/>
                    <a:gd name="T31" fmla="*/ 371 h 700"/>
                    <a:gd name="T32" fmla="*/ 0 w 543"/>
                    <a:gd name="T33" fmla="*/ 606 h 700"/>
                    <a:gd name="T34" fmla="*/ 0 w 543"/>
                    <a:gd name="T35" fmla="*/ 607 h 700"/>
                    <a:gd name="T36" fmla="*/ 19 w 543"/>
                    <a:gd name="T37" fmla="*/ 621 h 700"/>
                    <a:gd name="T38" fmla="*/ 206 w 543"/>
                    <a:gd name="T39" fmla="*/ 625 h 700"/>
                    <a:gd name="T40" fmla="*/ 321 w 543"/>
                    <a:gd name="T41" fmla="*/ 695 h 700"/>
                    <a:gd name="T42" fmla="*/ 478 w 543"/>
                    <a:gd name="T43" fmla="*/ 651 h 700"/>
                    <a:gd name="T44" fmla="*/ 538 w 543"/>
                    <a:gd name="T45" fmla="*/ 473 h 700"/>
                    <a:gd name="T46" fmla="*/ 215 w 543"/>
                    <a:gd name="T47" fmla="*/ 35 h 700"/>
                    <a:gd name="T48" fmla="*/ 255 w 543"/>
                    <a:gd name="T49" fmla="*/ 45 h 700"/>
                    <a:gd name="T50" fmla="*/ 261 w 543"/>
                    <a:gd name="T51" fmla="*/ 51 h 700"/>
                    <a:gd name="T52" fmla="*/ 271 w 543"/>
                    <a:gd name="T53" fmla="*/ 76 h 700"/>
                    <a:gd name="T54" fmla="*/ 181 w 543"/>
                    <a:gd name="T55" fmla="*/ 75 h 700"/>
                    <a:gd name="T56" fmla="*/ 137 w 543"/>
                    <a:gd name="T57" fmla="*/ 107 h 700"/>
                    <a:gd name="T58" fmla="*/ 309 w 543"/>
                    <a:gd name="T59" fmla="*/ 108 h 700"/>
                    <a:gd name="T60" fmla="*/ 315 w 543"/>
                    <a:gd name="T61" fmla="*/ 160 h 700"/>
                    <a:gd name="T62" fmla="*/ 261 w 543"/>
                    <a:gd name="T63" fmla="*/ 166 h 700"/>
                    <a:gd name="T64" fmla="*/ 136 w 543"/>
                    <a:gd name="T65" fmla="*/ 160 h 700"/>
                    <a:gd name="T66" fmla="*/ 183 w 543"/>
                    <a:gd name="T67" fmla="*/ 588 h 700"/>
                    <a:gd name="T68" fmla="*/ 32 w 543"/>
                    <a:gd name="T69" fmla="*/ 290 h 700"/>
                    <a:gd name="T70" fmla="*/ 38 w 543"/>
                    <a:gd name="T71" fmla="*/ 152 h 700"/>
                    <a:gd name="T72" fmla="*/ 105 w 543"/>
                    <a:gd name="T73" fmla="*/ 158 h 700"/>
                    <a:gd name="T74" fmla="*/ 123 w 543"/>
                    <a:gd name="T75" fmla="*/ 197 h 700"/>
                    <a:gd name="T76" fmla="*/ 329 w 543"/>
                    <a:gd name="T77" fmla="*/ 197 h 700"/>
                    <a:gd name="T78" fmla="*/ 347 w 543"/>
                    <a:gd name="T79" fmla="*/ 158 h 700"/>
                    <a:gd name="T80" fmla="*/ 382 w 543"/>
                    <a:gd name="T81" fmla="*/ 152 h 700"/>
                    <a:gd name="T82" fmla="*/ 420 w 543"/>
                    <a:gd name="T83" fmla="*/ 157 h 700"/>
                    <a:gd name="T84" fmla="*/ 420 w 543"/>
                    <a:gd name="T85" fmla="*/ 327 h 700"/>
                    <a:gd name="T86" fmla="*/ 404 w 543"/>
                    <a:gd name="T87" fmla="*/ 329 h 700"/>
                    <a:gd name="T88" fmla="*/ 276 w 543"/>
                    <a:gd name="T89" fmla="*/ 339 h 700"/>
                    <a:gd name="T90" fmla="*/ 175 w 543"/>
                    <a:gd name="T91" fmla="*/ 452 h 700"/>
                    <a:gd name="T92" fmla="*/ 507 w 543"/>
                    <a:gd name="T93" fmla="*/ 536 h 700"/>
                    <a:gd name="T94" fmla="*/ 391 w 543"/>
                    <a:gd name="T95" fmla="*/ 661 h 700"/>
                    <a:gd name="T96" fmla="*/ 282 w 543"/>
                    <a:gd name="T97" fmla="*/ 648 h 700"/>
                    <a:gd name="T98" fmla="*/ 211 w 543"/>
                    <a:gd name="T99" fmla="*/ 572 h 700"/>
                    <a:gd name="T100" fmla="*/ 278 w 543"/>
                    <a:gd name="T101" fmla="*/ 374 h 700"/>
                    <a:gd name="T102" fmla="*/ 481 w 543"/>
                    <a:gd name="T103" fmla="*/ 421 h 700"/>
                    <a:gd name="T104" fmla="*/ 507 w 543"/>
                    <a:gd name="T105" fmla="*/ 53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3" h="700">
                      <a:moveTo>
                        <a:pt x="538" y="473"/>
                      </a:moveTo>
                      <a:cubicBezTo>
                        <a:pt x="534" y="454"/>
                        <a:pt x="528" y="437"/>
                        <a:pt x="519" y="420"/>
                      </a:cubicBezTo>
                      <a:cubicBezTo>
                        <a:pt x="504" y="393"/>
                        <a:pt x="483" y="370"/>
                        <a:pt x="457" y="353"/>
                      </a:cubicBezTo>
                      <a:cubicBezTo>
                        <a:pt x="453" y="351"/>
                        <a:pt x="452" y="348"/>
                        <a:pt x="452" y="344"/>
                      </a:cubicBezTo>
                      <a:cubicBezTo>
                        <a:pt x="452" y="276"/>
                        <a:pt x="452" y="208"/>
                        <a:pt x="452" y="140"/>
                      </a:cubicBezTo>
                      <a:cubicBezTo>
                        <a:pt x="452" y="137"/>
                        <a:pt x="452" y="134"/>
                        <a:pt x="451" y="131"/>
                      </a:cubicBezTo>
                      <a:cubicBezTo>
                        <a:pt x="448" y="123"/>
                        <a:pt x="442" y="120"/>
                        <a:pt x="434" y="120"/>
                      </a:cubicBezTo>
                      <a:cubicBezTo>
                        <a:pt x="407" y="120"/>
                        <a:pt x="380" y="120"/>
                        <a:pt x="353" y="120"/>
                      </a:cubicBezTo>
                      <a:cubicBezTo>
                        <a:pt x="352" y="120"/>
                        <a:pt x="351" y="120"/>
                        <a:pt x="350" y="120"/>
                      </a:cubicBezTo>
                      <a:cubicBezTo>
                        <a:pt x="350" y="120"/>
                        <a:pt x="350" y="120"/>
                        <a:pt x="350" y="120"/>
                      </a:cubicBezTo>
                      <a:cubicBezTo>
                        <a:pt x="347" y="120"/>
                        <a:pt x="347" y="119"/>
                        <a:pt x="347" y="114"/>
                      </a:cubicBezTo>
                      <a:cubicBezTo>
                        <a:pt x="347" y="107"/>
                        <a:pt x="347" y="100"/>
                        <a:pt x="347" y="93"/>
                      </a:cubicBezTo>
                      <a:cubicBezTo>
                        <a:pt x="347" y="81"/>
                        <a:pt x="341" y="76"/>
                        <a:pt x="329" y="76"/>
                      </a:cubicBezTo>
                      <a:cubicBezTo>
                        <a:pt x="322" y="75"/>
                        <a:pt x="316" y="75"/>
                        <a:pt x="309" y="76"/>
                      </a:cubicBezTo>
                      <a:cubicBezTo>
                        <a:pt x="304" y="76"/>
                        <a:pt x="303" y="74"/>
                        <a:pt x="302" y="69"/>
                      </a:cubicBezTo>
                      <a:cubicBezTo>
                        <a:pt x="300" y="48"/>
                        <a:pt x="290" y="31"/>
                        <a:pt x="273" y="18"/>
                      </a:cubicBezTo>
                      <a:cubicBezTo>
                        <a:pt x="269" y="15"/>
                        <a:pt x="265" y="13"/>
                        <a:pt x="261" y="10"/>
                      </a:cubicBezTo>
                      <a:cubicBezTo>
                        <a:pt x="261" y="10"/>
                        <a:pt x="261" y="10"/>
                        <a:pt x="261" y="10"/>
                      </a:cubicBezTo>
                      <a:cubicBezTo>
                        <a:pt x="259" y="9"/>
                        <a:pt x="257" y="8"/>
                        <a:pt x="255" y="8"/>
                      </a:cubicBezTo>
                      <a:cubicBezTo>
                        <a:pt x="249" y="5"/>
                        <a:pt x="242" y="3"/>
                        <a:pt x="234" y="2"/>
                      </a:cubicBezTo>
                      <a:cubicBezTo>
                        <a:pt x="233" y="2"/>
                        <a:pt x="232" y="2"/>
                        <a:pt x="231" y="2"/>
                      </a:cubicBezTo>
                      <a:cubicBezTo>
                        <a:pt x="231" y="2"/>
                        <a:pt x="231" y="2"/>
                        <a:pt x="231" y="2"/>
                      </a:cubicBezTo>
                      <a:cubicBezTo>
                        <a:pt x="212" y="0"/>
                        <a:pt x="194" y="6"/>
                        <a:pt x="179" y="18"/>
                      </a:cubicBezTo>
                      <a:cubicBezTo>
                        <a:pt x="162" y="31"/>
                        <a:pt x="152" y="48"/>
                        <a:pt x="150" y="69"/>
                      </a:cubicBezTo>
                      <a:cubicBezTo>
                        <a:pt x="149" y="74"/>
                        <a:pt x="148" y="76"/>
                        <a:pt x="143" y="75"/>
                      </a:cubicBezTo>
                      <a:cubicBezTo>
                        <a:pt x="136" y="75"/>
                        <a:pt x="129" y="75"/>
                        <a:pt x="123" y="75"/>
                      </a:cubicBezTo>
                      <a:cubicBezTo>
                        <a:pt x="111" y="75"/>
                        <a:pt x="105" y="81"/>
                        <a:pt x="105" y="93"/>
                      </a:cubicBezTo>
                      <a:cubicBezTo>
                        <a:pt x="105" y="100"/>
                        <a:pt x="105" y="107"/>
                        <a:pt x="105" y="114"/>
                      </a:cubicBezTo>
                      <a:cubicBezTo>
                        <a:pt x="105" y="120"/>
                        <a:pt x="105" y="120"/>
                        <a:pt x="98" y="120"/>
                      </a:cubicBezTo>
                      <a:cubicBezTo>
                        <a:pt x="72" y="120"/>
                        <a:pt x="45" y="121"/>
                        <a:pt x="18" y="120"/>
                      </a:cubicBezTo>
                      <a:cubicBezTo>
                        <a:pt x="7" y="120"/>
                        <a:pt x="0" y="127"/>
                        <a:pt x="0" y="139"/>
                      </a:cubicBezTo>
                      <a:cubicBezTo>
                        <a:pt x="0" y="216"/>
                        <a:pt x="0" y="293"/>
                        <a:pt x="0" y="371"/>
                      </a:cubicBezTo>
                      <a:cubicBezTo>
                        <a:pt x="0" y="448"/>
                        <a:pt x="0" y="526"/>
                        <a:pt x="0" y="603"/>
                      </a:cubicBezTo>
                      <a:cubicBezTo>
                        <a:pt x="0" y="604"/>
                        <a:pt x="0" y="605"/>
                        <a:pt x="0" y="606"/>
                      </a:cubicBezTo>
                      <a:cubicBezTo>
                        <a:pt x="0" y="607"/>
                        <a:pt x="0" y="607"/>
                        <a:pt x="0" y="607"/>
                      </a:cubicBezTo>
                      <a:cubicBezTo>
                        <a:pt x="0" y="607"/>
                        <a:pt x="0" y="607"/>
                        <a:pt x="0" y="607"/>
                      </a:cubicBezTo>
                      <a:cubicBezTo>
                        <a:pt x="1" y="609"/>
                        <a:pt x="1" y="610"/>
                        <a:pt x="1" y="611"/>
                      </a:cubicBezTo>
                      <a:cubicBezTo>
                        <a:pt x="4" y="619"/>
                        <a:pt x="11" y="621"/>
                        <a:pt x="19" y="621"/>
                      </a:cubicBezTo>
                      <a:cubicBezTo>
                        <a:pt x="78" y="621"/>
                        <a:pt x="138" y="621"/>
                        <a:pt x="197" y="621"/>
                      </a:cubicBezTo>
                      <a:cubicBezTo>
                        <a:pt x="201" y="621"/>
                        <a:pt x="203" y="622"/>
                        <a:pt x="206" y="625"/>
                      </a:cubicBezTo>
                      <a:cubicBezTo>
                        <a:pt x="216" y="636"/>
                        <a:pt x="226" y="647"/>
                        <a:pt x="237" y="657"/>
                      </a:cubicBezTo>
                      <a:cubicBezTo>
                        <a:pt x="261" y="677"/>
                        <a:pt x="290" y="689"/>
                        <a:pt x="321" y="695"/>
                      </a:cubicBezTo>
                      <a:cubicBezTo>
                        <a:pt x="350" y="700"/>
                        <a:pt x="378" y="698"/>
                        <a:pt x="406" y="690"/>
                      </a:cubicBezTo>
                      <a:cubicBezTo>
                        <a:pt x="433" y="682"/>
                        <a:pt x="457" y="669"/>
                        <a:pt x="478" y="651"/>
                      </a:cubicBezTo>
                      <a:cubicBezTo>
                        <a:pt x="511" y="621"/>
                        <a:pt x="532" y="584"/>
                        <a:pt x="539" y="540"/>
                      </a:cubicBezTo>
                      <a:cubicBezTo>
                        <a:pt x="543" y="518"/>
                        <a:pt x="542" y="495"/>
                        <a:pt x="538" y="473"/>
                      </a:cubicBezTo>
                      <a:close/>
                      <a:moveTo>
                        <a:pt x="197" y="44"/>
                      </a:moveTo>
                      <a:cubicBezTo>
                        <a:pt x="202" y="40"/>
                        <a:pt x="209" y="36"/>
                        <a:pt x="215" y="35"/>
                      </a:cubicBezTo>
                      <a:cubicBezTo>
                        <a:pt x="215" y="35"/>
                        <a:pt x="215" y="35"/>
                        <a:pt x="215" y="35"/>
                      </a:cubicBezTo>
                      <a:cubicBezTo>
                        <a:pt x="229" y="32"/>
                        <a:pt x="244" y="35"/>
                        <a:pt x="255" y="45"/>
                      </a:cubicBezTo>
                      <a:cubicBezTo>
                        <a:pt x="257" y="46"/>
                        <a:pt x="259" y="48"/>
                        <a:pt x="261" y="50"/>
                      </a:cubicBezTo>
                      <a:cubicBezTo>
                        <a:pt x="261" y="50"/>
                        <a:pt x="261" y="51"/>
                        <a:pt x="261" y="51"/>
                      </a:cubicBezTo>
                      <a:cubicBezTo>
                        <a:pt x="261" y="51"/>
                        <a:pt x="261" y="51"/>
                        <a:pt x="261" y="51"/>
                      </a:cubicBezTo>
                      <a:cubicBezTo>
                        <a:pt x="267" y="57"/>
                        <a:pt x="270" y="65"/>
                        <a:pt x="271" y="76"/>
                      </a:cubicBezTo>
                      <a:cubicBezTo>
                        <a:pt x="268" y="76"/>
                        <a:pt x="212" y="75"/>
                        <a:pt x="188" y="75"/>
                      </a:cubicBezTo>
                      <a:cubicBezTo>
                        <a:pt x="186" y="75"/>
                        <a:pt x="184" y="75"/>
                        <a:pt x="181" y="75"/>
                      </a:cubicBezTo>
                      <a:cubicBezTo>
                        <a:pt x="182" y="62"/>
                        <a:pt x="188" y="52"/>
                        <a:pt x="197" y="44"/>
                      </a:cubicBezTo>
                      <a:close/>
                      <a:moveTo>
                        <a:pt x="137" y="107"/>
                      </a:moveTo>
                      <a:cubicBezTo>
                        <a:pt x="139" y="107"/>
                        <a:pt x="141" y="107"/>
                        <a:pt x="142" y="107"/>
                      </a:cubicBezTo>
                      <a:cubicBezTo>
                        <a:pt x="167" y="107"/>
                        <a:pt x="278" y="108"/>
                        <a:pt x="309" y="108"/>
                      </a:cubicBezTo>
                      <a:cubicBezTo>
                        <a:pt x="311" y="108"/>
                        <a:pt x="313" y="108"/>
                        <a:pt x="315" y="108"/>
                      </a:cubicBezTo>
                      <a:cubicBezTo>
                        <a:pt x="315" y="110"/>
                        <a:pt x="315" y="145"/>
                        <a:pt x="315" y="160"/>
                      </a:cubicBezTo>
                      <a:cubicBezTo>
                        <a:pt x="315" y="165"/>
                        <a:pt x="314" y="166"/>
                        <a:pt x="310" y="166"/>
                      </a:cubicBezTo>
                      <a:cubicBezTo>
                        <a:pt x="293" y="166"/>
                        <a:pt x="261" y="166"/>
                        <a:pt x="261" y="166"/>
                      </a:cubicBezTo>
                      <a:cubicBezTo>
                        <a:pt x="221" y="165"/>
                        <a:pt x="182" y="165"/>
                        <a:pt x="142" y="166"/>
                      </a:cubicBezTo>
                      <a:cubicBezTo>
                        <a:pt x="138" y="166"/>
                        <a:pt x="136" y="165"/>
                        <a:pt x="136" y="160"/>
                      </a:cubicBezTo>
                      <a:cubicBezTo>
                        <a:pt x="137" y="144"/>
                        <a:pt x="137" y="123"/>
                        <a:pt x="137" y="107"/>
                      </a:cubicBezTo>
                      <a:close/>
                      <a:moveTo>
                        <a:pt x="183" y="588"/>
                      </a:moveTo>
                      <a:cubicBezTo>
                        <a:pt x="159" y="589"/>
                        <a:pt x="31" y="587"/>
                        <a:pt x="31" y="587"/>
                      </a:cubicBezTo>
                      <a:cubicBezTo>
                        <a:pt x="31" y="587"/>
                        <a:pt x="32" y="374"/>
                        <a:pt x="32" y="290"/>
                      </a:cubicBezTo>
                      <a:cubicBezTo>
                        <a:pt x="32" y="246"/>
                        <a:pt x="32" y="202"/>
                        <a:pt x="32" y="158"/>
                      </a:cubicBezTo>
                      <a:cubicBezTo>
                        <a:pt x="32" y="154"/>
                        <a:pt x="33" y="152"/>
                        <a:pt x="38" y="152"/>
                      </a:cubicBezTo>
                      <a:cubicBezTo>
                        <a:pt x="58" y="152"/>
                        <a:pt x="79" y="152"/>
                        <a:pt x="99" y="152"/>
                      </a:cubicBezTo>
                      <a:cubicBezTo>
                        <a:pt x="104" y="152"/>
                        <a:pt x="105" y="154"/>
                        <a:pt x="105" y="158"/>
                      </a:cubicBezTo>
                      <a:cubicBezTo>
                        <a:pt x="105" y="165"/>
                        <a:pt x="105" y="173"/>
                        <a:pt x="105" y="180"/>
                      </a:cubicBezTo>
                      <a:cubicBezTo>
                        <a:pt x="105" y="190"/>
                        <a:pt x="113" y="197"/>
                        <a:pt x="123" y="197"/>
                      </a:cubicBezTo>
                      <a:cubicBezTo>
                        <a:pt x="154" y="197"/>
                        <a:pt x="184" y="197"/>
                        <a:pt x="215" y="197"/>
                      </a:cubicBezTo>
                      <a:cubicBezTo>
                        <a:pt x="215" y="197"/>
                        <a:pt x="291" y="197"/>
                        <a:pt x="329" y="197"/>
                      </a:cubicBezTo>
                      <a:cubicBezTo>
                        <a:pt x="339" y="197"/>
                        <a:pt x="347" y="191"/>
                        <a:pt x="347" y="180"/>
                      </a:cubicBezTo>
                      <a:cubicBezTo>
                        <a:pt x="347" y="173"/>
                        <a:pt x="347" y="165"/>
                        <a:pt x="347" y="158"/>
                      </a:cubicBezTo>
                      <a:cubicBezTo>
                        <a:pt x="347" y="154"/>
                        <a:pt x="348" y="152"/>
                        <a:pt x="352" y="152"/>
                      </a:cubicBezTo>
                      <a:cubicBezTo>
                        <a:pt x="362" y="152"/>
                        <a:pt x="382" y="152"/>
                        <a:pt x="382" y="152"/>
                      </a:cubicBezTo>
                      <a:cubicBezTo>
                        <a:pt x="393" y="152"/>
                        <a:pt x="404" y="152"/>
                        <a:pt x="416" y="152"/>
                      </a:cubicBezTo>
                      <a:cubicBezTo>
                        <a:pt x="419" y="152"/>
                        <a:pt x="420" y="153"/>
                        <a:pt x="420" y="157"/>
                      </a:cubicBezTo>
                      <a:cubicBezTo>
                        <a:pt x="420" y="168"/>
                        <a:pt x="420" y="179"/>
                        <a:pt x="420" y="190"/>
                      </a:cubicBezTo>
                      <a:cubicBezTo>
                        <a:pt x="420" y="235"/>
                        <a:pt x="420" y="281"/>
                        <a:pt x="420" y="327"/>
                      </a:cubicBezTo>
                      <a:cubicBezTo>
                        <a:pt x="420" y="329"/>
                        <a:pt x="420" y="331"/>
                        <a:pt x="420" y="334"/>
                      </a:cubicBezTo>
                      <a:cubicBezTo>
                        <a:pt x="414" y="332"/>
                        <a:pt x="409" y="331"/>
                        <a:pt x="404" y="329"/>
                      </a:cubicBezTo>
                      <a:cubicBezTo>
                        <a:pt x="378" y="321"/>
                        <a:pt x="351" y="321"/>
                        <a:pt x="324" y="324"/>
                      </a:cubicBezTo>
                      <a:cubicBezTo>
                        <a:pt x="308" y="327"/>
                        <a:pt x="292" y="332"/>
                        <a:pt x="276" y="339"/>
                      </a:cubicBezTo>
                      <a:cubicBezTo>
                        <a:pt x="275" y="339"/>
                        <a:pt x="261" y="346"/>
                        <a:pt x="261" y="346"/>
                      </a:cubicBezTo>
                      <a:cubicBezTo>
                        <a:pt x="220" y="371"/>
                        <a:pt x="190" y="406"/>
                        <a:pt x="175" y="452"/>
                      </a:cubicBezTo>
                      <a:cubicBezTo>
                        <a:pt x="160" y="498"/>
                        <a:pt x="164" y="544"/>
                        <a:pt x="183" y="588"/>
                      </a:cubicBezTo>
                      <a:close/>
                      <a:moveTo>
                        <a:pt x="507" y="536"/>
                      </a:moveTo>
                      <a:cubicBezTo>
                        <a:pt x="501" y="572"/>
                        <a:pt x="484" y="603"/>
                        <a:pt x="456" y="627"/>
                      </a:cubicBezTo>
                      <a:cubicBezTo>
                        <a:pt x="437" y="644"/>
                        <a:pt x="415" y="655"/>
                        <a:pt x="391" y="661"/>
                      </a:cubicBezTo>
                      <a:cubicBezTo>
                        <a:pt x="376" y="665"/>
                        <a:pt x="361" y="666"/>
                        <a:pt x="346" y="666"/>
                      </a:cubicBezTo>
                      <a:cubicBezTo>
                        <a:pt x="324" y="665"/>
                        <a:pt x="302" y="659"/>
                        <a:pt x="282" y="648"/>
                      </a:cubicBezTo>
                      <a:cubicBezTo>
                        <a:pt x="280" y="647"/>
                        <a:pt x="270" y="641"/>
                        <a:pt x="268" y="640"/>
                      </a:cubicBezTo>
                      <a:cubicBezTo>
                        <a:pt x="242" y="623"/>
                        <a:pt x="224" y="600"/>
                        <a:pt x="211" y="572"/>
                      </a:cubicBezTo>
                      <a:cubicBezTo>
                        <a:pt x="198" y="544"/>
                        <a:pt x="195" y="514"/>
                        <a:pt x="200" y="484"/>
                      </a:cubicBezTo>
                      <a:cubicBezTo>
                        <a:pt x="209" y="435"/>
                        <a:pt x="235" y="398"/>
                        <a:pt x="278" y="374"/>
                      </a:cubicBezTo>
                      <a:cubicBezTo>
                        <a:pt x="304" y="359"/>
                        <a:pt x="331" y="352"/>
                        <a:pt x="360" y="354"/>
                      </a:cubicBezTo>
                      <a:cubicBezTo>
                        <a:pt x="411" y="357"/>
                        <a:pt x="452" y="379"/>
                        <a:pt x="481" y="421"/>
                      </a:cubicBezTo>
                      <a:cubicBezTo>
                        <a:pt x="493" y="437"/>
                        <a:pt x="501" y="455"/>
                        <a:pt x="506" y="475"/>
                      </a:cubicBezTo>
                      <a:cubicBezTo>
                        <a:pt x="510" y="495"/>
                        <a:pt x="511" y="515"/>
                        <a:pt x="507" y="53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F39"/>
                    </a:solidFill>
                    <a:effectLst/>
                    <a:uLnTx/>
                    <a:uFillTx/>
                    <a:latin typeface="Calibri" panose="020F0502020204030204"/>
                  </a:endParaRPr>
                </a:p>
              </p:txBody>
            </p:sp>
          </p:grpSp>
          <p:cxnSp>
            <p:nvCxnSpPr>
              <p:cNvPr id="59" name="Straight Connector 72">
                <a:extLst>
                  <a:ext uri="{FF2B5EF4-FFF2-40B4-BE49-F238E27FC236}">
                    <a16:creationId xmlns:a16="http://schemas.microsoft.com/office/drawing/2014/main" id="{58B79C8A-A80A-E848-9CC6-EF9801B01645}"/>
                  </a:ext>
                </a:extLst>
              </p:cNvPr>
              <p:cNvCxnSpPr/>
              <p:nvPr/>
            </p:nvCxnSpPr>
            <p:spPr>
              <a:xfrm>
                <a:off x="2489200" y="2743200"/>
                <a:ext cx="1859280" cy="0"/>
              </a:xfrm>
              <a:prstGeom prst="line">
                <a:avLst/>
              </a:prstGeom>
              <a:grpFill/>
              <a:ln w="38100" cap="flat" cmpd="sng" algn="ctr">
                <a:solidFill>
                  <a:srgbClr val="282F39"/>
                </a:solidFill>
                <a:prstDash val="solid"/>
                <a:miter lim="800000"/>
              </a:ln>
              <a:effectLst/>
            </p:spPr>
          </p:cxnSp>
          <p:cxnSp>
            <p:nvCxnSpPr>
              <p:cNvPr id="60" name="Straight Connector 73">
                <a:extLst>
                  <a:ext uri="{FF2B5EF4-FFF2-40B4-BE49-F238E27FC236}">
                    <a16:creationId xmlns:a16="http://schemas.microsoft.com/office/drawing/2014/main" id="{FF628734-3C66-1D41-AC09-B46BFC439813}"/>
                  </a:ext>
                </a:extLst>
              </p:cNvPr>
              <p:cNvCxnSpPr/>
              <p:nvPr/>
            </p:nvCxnSpPr>
            <p:spPr>
              <a:xfrm>
                <a:off x="2489200" y="3063240"/>
                <a:ext cx="1859280" cy="0"/>
              </a:xfrm>
              <a:prstGeom prst="line">
                <a:avLst/>
              </a:prstGeom>
              <a:grpFill/>
              <a:ln w="38100" cap="flat" cmpd="sng" algn="ctr">
                <a:solidFill>
                  <a:srgbClr val="282F39"/>
                </a:solidFill>
                <a:prstDash val="solid"/>
                <a:miter lim="800000"/>
              </a:ln>
              <a:effectLst/>
            </p:spPr>
          </p:cxnSp>
          <p:cxnSp>
            <p:nvCxnSpPr>
              <p:cNvPr id="61" name="Straight Connector 74">
                <a:extLst>
                  <a:ext uri="{FF2B5EF4-FFF2-40B4-BE49-F238E27FC236}">
                    <a16:creationId xmlns:a16="http://schemas.microsoft.com/office/drawing/2014/main" id="{CDF85863-7C7E-4549-A93E-102239883773}"/>
                  </a:ext>
                </a:extLst>
              </p:cNvPr>
              <p:cNvCxnSpPr>
                <a:cxnSpLocks/>
              </p:cNvCxnSpPr>
              <p:nvPr/>
            </p:nvCxnSpPr>
            <p:spPr>
              <a:xfrm>
                <a:off x="2489200" y="3383280"/>
                <a:ext cx="853440" cy="0"/>
              </a:xfrm>
              <a:prstGeom prst="line">
                <a:avLst/>
              </a:prstGeom>
              <a:grpFill/>
              <a:ln w="38100" cap="flat" cmpd="sng" algn="ctr">
                <a:solidFill>
                  <a:srgbClr val="282F39"/>
                </a:solidFill>
                <a:prstDash val="solid"/>
                <a:miter lim="800000"/>
              </a:ln>
              <a:effectLst/>
            </p:spPr>
          </p:cxnSp>
          <p:cxnSp>
            <p:nvCxnSpPr>
              <p:cNvPr id="62" name="Straight Connector 75">
                <a:extLst>
                  <a:ext uri="{FF2B5EF4-FFF2-40B4-BE49-F238E27FC236}">
                    <a16:creationId xmlns:a16="http://schemas.microsoft.com/office/drawing/2014/main" id="{480DB5AC-1701-7F4C-A0F3-5DDB23CFFDCB}"/>
                  </a:ext>
                </a:extLst>
              </p:cNvPr>
              <p:cNvCxnSpPr>
                <a:cxnSpLocks/>
              </p:cNvCxnSpPr>
              <p:nvPr/>
            </p:nvCxnSpPr>
            <p:spPr>
              <a:xfrm>
                <a:off x="2489200" y="3693160"/>
                <a:ext cx="635000" cy="0"/>
              </a:xfrm>
              <a:prstGeom prst="line">
                <a:avLst/>
              </a:prstGeom>
              <a:grpFill/>
              <a:ln w="38100" cap="flat" cmpd="sng" algn="ctr">
                <a:solidFill>
                  <a:srgbClr val="282F39"/>
                </a:solidFill>
                <a:prstDash val="solid"/>
                <a:miter lim="800000"/>
              </a:ln>
              <a:effectLst/>
            </p:spPr>
          </p:cxnSp>
          <p:cxnSp>
            <p:nvCxnSpPr>
              <p:cNvPr id="63" name="Straight Connector 76">
                <a:extLst>
                  <a:ext uri="{FF2B5EF4-FFF2-40B4-BE49-F238E27FC236}">
                    <a16:creationId xmlns:a16="http://schemas.microsoft.com/office/drawing/2014/main" id="{B83F6D4E-D263-5C4A-B29C-C748EF1FF384}"/>
                  </a:ext>
                </a:extLst>
              </p:cNvPr>
              <p:cNvCxnSpPr>
                <a:cxnSpLocks/>
              </p:cNvCxnSpPr>
              <p:nvPr/>
            </p:nvCxnSpPr>
            <p:spPr>
              <a:xfrm>
                <a:off x="2489200" y="4013200"/>
                <a:ext cx="477520" cy="0"/>
              </a:xfrm>
              <a:prstGeom prst="line">
                <a:avLst/>
              </a:prstGeom>
              <a:grpFill/>
              <a:ln w="38100" cap="flat" cmpd="sng" algn="ctr">
                <a:solidFill>
                  <a:srgbClr val="282F39"/>
                </a:solidFill>
                <a:prstDash val="solid"/>
                <a:miter lim="800000"/>
              </a:ln>
              <a:effectLst/>
            </p:spPr>
          </p:cxnSp>
          <p:cxnSp>
            <p:nvCxnSpPr>
              <p:cNvPr id="64" name="Straight Connector 77">
                <a:extLst>
                  <a:ext uri="{FF2B5EF4-FFF2-40B4-BE49-F238E27FC236}">
                    <a16:creationId xmlns:a16="http://schemas.microsoft.com/office/drawing/2014/main" id="{F262379F-DB0A-024D-977A-723663007ACA}"/>
                  </a:ext>
                </a:extLst>
              </p:cNvPr>
              <p:cNvCxnSpPr>
                <a:cxnSpLocks/>
              </p:cNvCxnSpPr>
              <p:nvPr/>
            </p:nvCxnSpPr>
            <p:spPr>
              <a:xfrm>
                <a:off x="2489200" y="4333240"/>
                <a:ext cx="426720" cy="0"/>
              </a:xfrm>
              <a:prstGeom prst="line">
                <a:avLst/>
              </a:prstGeom>
              <a:grpFill/>
              <a:ln w="38100" cap="flat" cmpd="sng" algn="ctr">
                <a:solidFill>
                  <a:srgbClr val="282F39"/>
                </a:solidFill>
                <a:prstDash val="solid"/>
                <a:miter lim="800000"/>
              </a:ln>
              <a:effectLst/>
            </p:spPr>
          </p:cxnSp>
          <p:cxnSp>
            <p:nvCxnSpPr>
              <p:cNvPr id="65" name="Straight Connector 78">
                <a:extLst>
                  <a:ext uri="{FF2B5EF4-FFF2-40B4-BE49-F238E27FC236}">
                    <a16:creationId xmlns:a16="http://schemas.microsoft.com/office/drawing/2014/main" id="{DA404D95-3475-9142-AAB9-DE2FCEF893DE}"/>
                  </a:ext>
                </a:extLst>
              </p:cNvPr>
              <p:cNvCxnSpPr>
                <a:cxnSpLocks/>
              </p:cNvCxnSpPr>
              <p:nvPr/>
            </p:nvCxnSpPr>
            <p:spPr>
              <a:xfrm>
                <a:off x="2489200" y="4638040"/>
                <a:ext cx="426720" cy="0"/>
              </a:xfrm>
              <a:prstGeom prst="line">
                <a:avLst/>
              </a:prstGeom>
              <a:grpFill/>
              <a:ln w="38100" cap="flat" cmpd="sng" algn="ctr">
                <a:solidFill>
                  <a:srgbClr val="282F39"/>
                </a:solidFill>
                <a:prstDash val="solid"/>
                <a:miter lim="800000"/>
              </a:ln>
              <a:effectLst/>
            </p:spPr>
          </p:cxnSp>
        </p:grpSp>
      </p:grpSp>
      <p:sp>
        <p:nvSpPr>
          <p:cNvPr id="71" name="TextBox 84">
            <a:extLst>
              <a:ext uri="{FF2B5EF4-FFF2-40B4-BE49-F238E27FC236}">
                <a16:creationId xmlns:a16="http://schemas.microsoft.com/office/drawing/2014/main" id="{8536B9C5-B86D-3F41-A300-46B8F5102BEB}"/>
              </a:ext>
            </a:extLst>
          </p:cNvPr>
          <p:cNvSpPr txBox="1"/>
          <p:nvPr/>
        </p:nvSpPr>
        <p:spPr>
          <a:xfrm>
            <a:off x="847325" y="1244292"/>
            <a:ext cx="2533505" cy="276999"/>
          </a:xfrm>
          <a:prstGeom prst="rect">
            <a:avLst/>
          </a:prstGeom>
          <a:noFill/>
        </p:spPr>
        <p:txBody>
          <a:bodyPr wrap="square" rtlCol="0">
            <a:spAutoFit/>
          </a:bodyPr>
          <a:lstStyle/>
          <a:p>
            <a:pPr algn="just">
              <a:defRPr/>
            </a:pPr>
            <a:r>
              <a:rPr lang="en-GB" sz="1200" b="1" dirty="0">
                <a:solidFill>
                  <a:srgbClr val="282F39"/>
                </a:solidFill>
                <a:latin typeface="Noto Sans" panose="020B0502040504020204" pitchFamily="34"/>
                <a:ea typeface="Noto Sans" panose="020B0502040504020204" pitchFamily="34"/>
                <a:cs typeface="Noto Sans" panose="020B0502040504020204" pitchFamily="34"/>
              </a:rPr>
              <a:t>Table des labels</a:t>
            </a:r>
          </a:p>
        </p:txBody>
      </p:sp>
      <p:sp>
        <p:nvSpPr>
          <p:cNvPr id="78" name="Titre 1">
            <a:extLst>
              <a:ext uri="{FF2B5EF4-FFF2-40B4-BE49-F238E27FC236}">
                <a16:creationId xmlns:a16="http://schemas.microsoft.com/office/drawing/2014/main" id="{AC75D1F8-253F-3444-A557-8599068D2BC9}"/>
              </a:ext>
            </a:extLst>
          </p:cNvPr>
          <p:cNvSpPr txBox="1">
            <a:spLocks/>
          </p:cNvSpPr>
          <p:nvPr/>
        </p:nvSpPr>
        <p:spPr>
          <a:xfrm>
            <a:off x="792480" y="243840"/>
            <a:ext cx="10343951" cy="865739"/>
          </a:xfrm>
          <a:prstGeom prst="rect">
            <a:avLst/>
          </a:prstGeom>
          <a:noFill/>
          <a:ln>
            <a:noFill/>
          </a:ln>
        </p:spPr>
        <p:txBody>
          <a:bodyPr spcFirstLastPara="1" vert="horz" wrap="square" lIns="0" tIns="180000" rIns="0" bIns="0" rtlCol="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3A70"/>
              </a:buClr>
              <a:buSzPts val="2000"/>
              <a:buFont typeface="Arial"/>
              <a:buNone/>
              <a:defRPr lang="en-GB" sz="2000" b="0" i="0" u="none" strike="noStrike" cap="none">
                <a:solidFill>
                  <a:srgbClr val="003A7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kern="0">
                <a:latin typeface="Arial" panose="020B0604020202020204" pitchFamily="34" charset="0"/>
                <a:cs typeface="Arial" panose="020B0604020202020204" pitchFamily="34" charset="0"/>
              </a:rPr>
              <a:t>Focus sur la donnée</a:t>
            </a:r>
            <a:endParaRPr lang="en-US" sz="2400" kern="0" dirty="0">
              <a:latin typeface="Arial" panose="020B0604020202020204" pitchFamily="34" charset="0"/>
              <a:cs typeface="Arial" panose="020B0604020202020204" pitchFamily="34" charset="0"/>
            </a:endParaRPr>
          </a:p>
        </p:txBody>
      </p:sp>
      <p:sp>
        <p:nvSpPr>
          <p:cNvPr id="79" name="TextBox 7">
            <a:extLst>
              <a:ext uri="{FF2B5EF4-FFF2-40B4-BE49-F238E27FC236}">
                <a16:creationId xmlns:a16="http://schemas.microsoft.com/office/drawing/2014/main" id="{9A77C1C7-5733-F44A-A51A-50BE5047E206}"/>
              </a:ext>
            </a:extLst>
          </p:cNvPr>
          <p:cNvSpPr txBox="1"/>
          <p:nvPr/>
        </p:nvSpPr>
        <p:spPr>
          <a:xfrm>
            <a:off x="7757956" y="0"/>
            <a:ext cx="4434044" cy="393838"/>
          </a:xfrm>
          <a:prstGeom prst="rect">
            <a:avLst/>
          </a:prstGeom>
          <a:noFill/>
        </p:spPr>
        <p:txBody>
          <a:bodyPr wrap="square" anchor="ctr">
            <a:noAutofit/>
          </a:bodyPr>
          <a:lstStyle/>
          <a:p>
            <a:pPr algn="r"/>
            <a:r>
              <a:rPr lang="fr-FR" sz="2000" kern="1200" spc="250" dirty="0" err="1">
                <a:solidFill>
                  <a:schemeClr val="accent5"/>
                </a:solidFill>
                <a:latin typeface="Nunito" pitchFamily="2" charset="0"/>
                <a:ea typeface="Verdana" panose="020B0604030504040204" pitchFamily="34" charset="0"/>
                <a:cs typeface="+mn-cs"/>
              </a:rPr>
              <a:t>Hickathon</a:t>
            </a:r>
            <a:r>
              <a:rPr lang="fr-FR" sz="2000" kern="1200" spc="250" dirty="0">
                <a:solidFill>
                  <a:schemeClr val="accent5"/>
                </a:solidFill>
                <a:latin typeface="Nunito" pitchFamily="2" charset="0"/>
                <a:ea typeface="Verdana" panose="020B0604030504040204" pitchFamily="34" charset="0"/>
                <a:cs typeface="+mn-cs"/>
              </a:rPr>
              <a:t> 2</a:t>
            </a:r>
          </a:p>
        </p:txBody>
      </p:sp>
      <p:pic>
        <p:nvPicPr>
          <p:cNvPr id="7" name="Image 6">
            <a:extLst>
              <a:ext uri="{FF2B5EF4-FFF2-40B4-BE49-F238E27FC236}">
                <a16:creationId xmlns:a16="http://schemas.microsoft.com/office/drawing/2014/main" id="{D8ADD94D-44BB-774E-B8CF-934ABA439981}"/>
              </a:ext>
            </a:extLst>
          </p:cNvPr>
          <p:cNvPicPr>
            <a:picLocks noChangeAspect="1"/>
          </p:cNvPicPr>
          <p:nvPr/>
        </p:nvPicPr>
        <p:blipFill>
          <a:blip r:embed="rId3"/>
          <a:stretch>
            <a:fillRect/>
          </a:stretch>
        </p:blipFill>
        <p:spPr>
          <a:xfrm>
            <a:off x="1" y="1524335"/>
            <a:ext cx="3592072" cy="1456291"/>
          </a:xfrm>
          <a:prstGeom prst="rect">
            <a:avLst/>
          </a:prstGeom>
        </p:spPr>
      </p:pic>
      <p:sp>
        <p:nvSpPr>
          <p:cNvPr id="80" name="TextBox 84">
            <a:extLst>
              <a:ext uri="{FF2B5EF4-FFF2-40B4-BE49-F238E27FC236}">
                <a16:creationId xmlns:a16="http://schemas.microsoft.com/office/drawing/2014/main" id="{FE665865-0E73-144F-9926-6331B9C66E52}"/>
              </a:ext>
            </a:extLst>
          </p:cNvPr>
          <p:cNvSpPr txBox="1"/>
          <p:nvPr/>
        </p:nvSpPr>
        <p:spPr>
          <a:xfrm>
            <a:off x="513582" y="3144610"/>
            <a:ext cx="3078490" cy="307777"/>
          </a:xfrm>
          <a:prstGeom prst="rect">
            <a:avLst/>
          </a:prstGeom>
          <a:noFill/>
        </p:spPr>
        <p:txBody>
          <a:bodyPr wrap="square" rtlCol="0">
            <a:spAutoFit/>
          </a:bodyPr>
          <a:lstStyle/>
          <a:p>
            <a:pPr algn="just">
              <a:defRPr/>
            </a:pPr>
            <a:r>
              <a:rPr lang="en-GB" sz="1400" b="1" dirty="0">
                <a:solidFill>
                  <a:srgbClr val="282F39"/>
                </a:solidFill>
                <a:latin typeface="Noto Sans" panose="020B0502040504020204" pitchFamily="34"/>
                <a:ea typeface="Noto Sans" panose="020B0502040504020204" pitchFamily="34"/>
                <a:cs typeface="Noto Sans" panose="020B0502040504020204" pitchFamily="34"/>
              </a:rPr>
              <a:t>Table des emissions Carbone</a:t>
            </a:r>
          </a:p>
        </p:txBody>
      </p:sp>
      <p:pic>
        <p:nvPicPr>
          <p:cNvPr id="10" name="Image 9">
            <a:extLst>
              <a:ext uri="{FF2B5EF4-FFF2-40B4-BE49-F238E27FC236}">
                <a16:creationId xmlns:a16="http://schemas.microsoft.com/office/drawing/2014/main" id="{DEB4BF79-2287-EC41-8FAC-C522DA079688}"/>
              </a:ext>
            </a:extLst>
          </p:cNvPr>
          <p:cNvPicPr>
            <a:picLocks noChangeAspect="1"/>
          </p:cNvPicPr>
          <p:nvPr/>
        </p:nvPicPr>
        <p:blipFill>
          <a:blip r:embed="rId4"/>
          <a:stretch>
            <a:fillRect/>
          </a:stretch>
        </p:blipFill>
        <p:spPr>
          <a:xfrm>
            <a:off x="0" y="3444798"/>
            <a:ext cx="3592073" cy="1474076"/>
          </a:xfrm>
          <a:prstGeom prst="rect">
            <a:avLst/>
          </a:prstGeom>
        </p:spPr>
      </p:pic>
      <p:sp>
        <p:nvSpPr>
          <p:cNvPr id="83" name="ZoneTexte 82">
            <a:extLst>
              <a:ext uri="{FF2B5EF4-FFF2-40B4-BE49-F238E27FC236}">
                <a16:creationId xmlns:a16="http://schemas.microsoft.com/office/drawing/2014/main" id="{67F75614-3C5B-2147-B77F-82D7502E7EAB}"/>
              </a:ext>
            </a:extLst>
          </p:cNvPr>
          <p:cNvSpPr txBox="1"/>
          <p:nvPr/>
        </p:nvSpPr>
        <p:spPr>
          <a:xfrm>
            <a:off x="3293645" y="3087787"/>
            <a:ext cx="6587288" cy="646331"/>
          </a:xfrm>
          <a:prstGeom prst="rect">
            <a:avLst/>
          </a:prstGeom>
          <a:noFill/>
        </p:spPr>
        <p:txBody>
          <a:bodyPr wrap="square">
            <a:spAutoFit/>
          </a:bodyPr>
          <a:lstStyle/>
          <a:p>
            <a:br>
              <a:rPr lang="fr-FR" dirty="0"/>
            </a:br>
            <a:endParaRPr lang="fr-FR" dirty="0"/>
          </a:p>
        </p:txBody>
      </p:sp>
      <p:sp>
        <p:nvSpPr>
          <p:cNvPr id="85" name="ZoneTexte 84">
            <a:extLst>
              <a:ext uri="{FF2B5EF4-FFF2-40B4-BE49-F238E27FC236}">
                <a16:creationId xmlns:a16="http://schemas.microsoft.com/office/drawing/2014/main" id="{E0EFB151-0D64-6C40-91C6-04A25DB9C9DE}"/>
              </a:ext>
            </a:extLst>
          </p:cNvPr>
          <p:cNvSpPr txBox="1"/>
          <p:nvPr/>
        </p:nvSpPr>
        <p:spPr>
          <a:xfrm>
            <a:off x="3293645" y="3087787"/>
            <a:ext cx="6587288" cy="646331"/>
          </a:xfrm>
          <a:prstGeom prst="rect">
            <a:avLst/>
          </a:prstGeom>
          <a:noFill/>
        </p:spPr>
        <p:txBody>
          <a:bodyPr wrap="square">
            <a:spAutoFit/>
          </a:bodyPr>
          <a:lstStyle/>
          <a:p>
            <a:br>
              <a:rPr lang="fr-FR" dirty="0"/>
            </a:br>
            <a:endParaRPr lang="fr-FR" dirty="0"/>
          </a:p>
        </p:txBody>
      </p:sp>
      <p:pic>
        <p:nvPicPr>
          <p:cNvPr id="71682" name="Picture 2">
            <a:extLst>
              <a:ext uri="{FF2B5EF4-FFF2-40B4-BE49-F238E27FC236}">
                <a16:creationId xmlns:a16="http://schemas.microsoft.com/office/drawing/2014/main" id="{35DB8A26-79ED-1A47-A504-9229B091B0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19511" y="1640368"/>
            <a:ext cx="2108593" cy="170746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a:extLst>
              <a:ext uri="{FF2B5EF4-FFF2-40B4-BE49-F238E27FC236}">
                <a16:creationId xmlns:a16="http://schemas.microsoft.com/office/drawing/2014/main" id="{7A1ED8A7-416F-BB40-BCE2-D86126FB73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44837" y="1684419"/>
            <a:ext cx="2236990" cy="1591222"/>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84">
            <a:extLst>
              <a:ext uri="{FF2B5EF4-FFF2-40B4-BE49-F238E27FC236}">
                <a16:creationId xmlns:a16="http://schemas.microsoft.com/office/drawing/2014/main" id="{809A263A-AF4E-D044-A730-45F841BF1852}"/>
              </a:ext>
            </a:extLst>
          </p:cNvPr>
          <p:cNvSpPr txBox="1"/>
          <p:nvPr/>
        </p:nvSpPr>
        <p:spPr>
          <a:xfrm>
            <a:off x="8790684" y="1336113"/>
            <a:ext cx="2533505" cy="276999"/>
          </a:xfrm>
          <a:prstGeom prst="rect">
            <a:avLst/>
          </a:prstGeom>
          <a:noFill/>
        </p:spPr>
        <p:txBody>
          <a:bodyPr wrap="square" rtlCol="0">
            <a:spAutoFit/>
          </a:bodyPr>
          <a:lstStyle/>
          <a:p>
            <a:pPr algn="just">
              <a:defRPr/>
            </a:pPr>
            <a:r>
              <a:rPr lang="en-GB" sz="1200" b="1" dirty="0" err="1">
                <a:solidFill>
                  <a:srgbClr val="282F39"/>
                </a:solidFill>
                <a:latin typeface="Noto Sans" panose="020B0502040504020204" pitchFamily="34"/>
                <a:ea typeface="Noto Sans" panose="020B0502040504020204" pitchFamily="34"/>
                <a:cs typeface="Noto Sans" panose="020B0502040504020204" pitchFamily="34"/>
              </a:rPr>
              <a:t>Exemple</a:t>
            </a:r>
            <a:r>
              <a:rPr lang="en-GB" sz="1200" b="1" dirty="0">
                <a:solidFill>
                  <a:srgbClr val="282F39"/>
                </a:solidFill>
                <a:latin typeface="Noto Sans" panose="020B0502040504020204" pitchFamily="34"/>
                <a:ea typeface="Noto Sans" panose="020B0502040504020204" pitchFamily="34"/>
                <a:cs typeface="Noto Sans" panose="020B0502040504020204" pitchFamily="34"/>
              </a:rPr>
              <a:t> </a:t>
            </a:r>
            <a:r>
              <a:rPr lang="en-GB" sz="1200" b="1" dirty="0" err="1">
                <a:solidFill>
                  <a:srgbClr val="282F39"/>
                </a:solidFill>
                <a:latin typeface="Noto Sans" panose="020B0502040504020204" pitchFamily="34"/>
                <a:ea typeface="Noto Sans" panose="020B0502040504020204" pitchFamily="34"/>
                <a:cs typeface="Noto Sans" panose="020B0502040504020204" pitchFamily="34"/>
              </a:rPr>
              <a:t>d’images</a:t>
            </a:r>
            <a:r>
              <a:rPr lang="en-GB" sz="1200" b="1" dirty="0">
                <a:solidFill>
                  <a:srgbClr val="282F39"/>
                </a:solidFill>
                <a:latin typeface="Noto Sans" panose="020B0502040504020204" pitchFamily="34"/>
                <a:ea typeface="Noto Sans" panose="020B0502040504020204" pitchFamily="34"/>
                <a:cs typeface="Noto Sans" panose="020B0502040504020204" pitchFamily="34"/>
              </a:rPr>
              <a:t> de voitures</a:t>
            </a:r>
          </a:p>
        </p:txBody>
      </p:sp>
      <p:sp>
        <p:nvSpPr>
          <p:cNvPr id="93" name="TextBox 84">
            <a:extLst>
              <a:ext uri="{FF2B5EF4-FFF2-40B4-BE49-F238E27FC236}">
                <a16:creationId xmlns:a16="http://schemas.microsoft.com/office/drawing/2014/main" id="{D2795E7F-4ED8-A34A-BDAD-B6426E4C2FE1}"/>
              </a:ext>
            </a:extLst>
          </p:cNvPr>
          <p:cNvSpPr txBox="1"/>
          <p:nvPr/>
        </p:nvSpPr>
        <p:spPr>
          <a:xfrm>
            <a:off x="7643496" y="3414923"/>
            <a:ext cx="4452907" cy="261610"/>
          </a:xfrm>
          <a:prstGeom prst="rect">
            <a:avLst/>
          </a:prstGeom>
          <a:noFill/>
        </p:spPr>
        <p:txBody>
          <a:bodyPr wrap="square" rtlCol="0">
            <a:spAutoFit/>
          </a:bodyPr>
          <a:lstStyle/>
          <a:p>
            <a:pPr algn="just">
              <a:defRPr/>
            </a:pP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Exemple</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a:t>
            </a: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d’échantillon</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du </a:t>
            </a: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modèle</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Scion </a:t>
            </a:r>
            <a:r>
              <a:rPr lang="en-GB" sz="1100" b="1" dirty="0" err="1">
                <a:solidFill>
                  <a:srgbClr val="282F39"/>
                </a:solidFill>
                <a:latin typeface="Noto Sans" panose="020B0502040504020204" pitchFamily="34"/>
                <a:ea typeface="Noto Sans" panose="020B0502040504020204" pitchFamily="34"/>
                <a:cs typeface="Noto Sans" panose="020B0502040504020204" pitchFamily="34"/>
              </a:rPr>
              <a:t>xD</a:t>
            </a:r>
            <a:r>
              <a:rPr lang="en-GB" sz="1100" b="1" dirty="0">
                <a:solidFill>
                  <a:srgbClr val="282F39"/>
                </a:solidFill>
                <a:latin typeface="Noto Sans" panose="020B0502040504020204" pitchFamily="34"/>
                <a:ea typeface="Noto Sans" panose="020B0502040504020204" pitchFamily="34"/>
                <a:cs typeface="Noto Sans" panose="020B0502040504020204" pitchFamily="34"/>
              </a:rPr>
              <a:t> hatchback 2012</a:t>
            </a:r>
          </a:p>
        </p:txBody>
      </p:sp>
      <p:pic>
        <p:nvPicPr>
          <p:cNvPr id="3" name="Image 2" descr="Une image contenant voiture&#10;&#10;Description générée automatiquement">
            <a:extLst>
              <a:ext uri="{FF2B5EF4-FFF2-40B4-BE49-F238E27FC236}">
                <a16:creationId xmlns:a16="http://schemas.microsoft.com/office/drawing/2014/main" id="{C4DA4192-3E52-044D-8E96-2D197AEEAF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71029" y="3759012"/>
            <a:ext cx="1520971" cy="1385909"/>
          </a:xfrm>
          <a:prstGeom prst="rect">
            <a:avLst/>
          </a:prstGeom>
        </p:spPr>
      </p:pic>
      <p:pic>
        <p:nvPicPr>
          <p:cNvPr id="5" name="Image 4" descr="Une image contenant texte, rouge&#10;&#10;Description générée automatiquement">
            <a:extLst>
              <a:ext uri="{FF2B5EF4-FFF2-40B4-BE49-F238E27FC236}">
                <a16:creationId xmlns:a16="http://schemas.microsoft.com/office/drawing/2014/main" id="{5D0C1CAA-A1A9-E747-B1A8-D5BCE06420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35839" y="3786467"/>
            <a:ext cx="1520971" cy="1351020"/>
          </a:xfrm>
          <a:prstGeom prst="rect">
            <a:avLst/>
          </a:prstGeom>
        </p:spPr>
      </p:pic>
      <p:pic>
        <p:nvPicPr>
          <p:cNvPr id="8" name="Image 7" descr="Une image contenant texte, voiture&#10;&#10;Description générée automatiquement">
            <a:extLst>
              <a:ext uri="{FF2B5EF4-FFF2-40B4-BE49-F238E27FC236}">
                <a16:creationId xmlns:a16="http://schemas.microsoft.com/office/drawing/2014/main" id="{A80E19E5-5410-F143-82D2-B44469C9238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7481497" y="3831204"/>
            <a:ext cx="1469993" cy="1306281"/>
          </a:xfrm>
          <a:prstGeom prst="rect">
            <a:avLst/>
          </a:prstGeom>
        </p:spPr>
      </p:pic>
    </p:spTree>
    <p:extLst>
      <p:ext uri="{BB962C8B-B14F-4D97-AF65-F5344CB8AC3E}">
        <p14:creationId xmlns:p14="http://schemas.microsoft.com/office/powerpoint/2010/main" val="2746447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Thème Office">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4575"/>
          </a:solidFill>
        </a:ln>
      </a:spPr>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defPPr algn="l">
          <a:defRPr dirty="0" smtClean="0">
            <a:solidFill>
              <a:srgbClr val="004575"/>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124 Booklet Mécènes - Challenge Data Hi!Paris_v1.pptx" id="{C848388D-0A33-458D-862F-211084FEF125}" vid="{1A31F65B-06C3-4092-88EF-7486F22A3E16}"/>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7" id="{76B067EA-FD90-43C9-9707-1FE07CAB5CA4}" vid="{02F4BFDB-6216-4E82-99CD-FCF5D4909630}"/>
    </a:ext>
  </a:extLst>
</a:theme>
</file>

<file path=ppt/theme/theme4.xml><?xml version="1.0" encoding="utf-8"?>
<a:theme xmlns:a="http://schemas.openxmlformats.org/drawingml/2006/main" name="Capgemini BU Germany Nov 2021">
  <a:themeElements>
    <a:clrScheme name="Custom 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70AD"/>
      </a:hlink>
      <a:folHlink>
        <a:srgbClr val="12ABDB"/>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nchorCtr="0">
        <a:spAutoFit/>
      </a:bodyPr>
      <a:lstStyle>
        <a:defPPr algn="l">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hire A">
      <a:srgbClr val="338091"/>
    </a:custClr>
    <a:custClr name="Saphire B">
      <a:srgbClr val="336B7D"/>
    </a:custClr>
    <a:custClr name="Saphire C">
      <a:srgbClr val="14596B"/>
    </a:custClr>
    <a:custClr name="Saphire D">
      <a:srgbClr val="214554"/>
    </a:custClr>
    <a:custClr name="Sa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Standard Template" id="{EFD53154-AF65-4FCF-97A4-A77C83C417A6}" vid="{65721D4B-39C8-4B8E-A75E-592AFC7DDF3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23f5772-b42d-4d4e-addf-390ddd4b9bd0">
      <Terms xmlns="http://schemas.microsoft.com/office/infopath/2007/PartnerControls"/>
    </lcf76f155ced4ddcb4097134ff3c332f>
    <TaxCatchAll xmlns="b35d620c-dd0a-4405-b5d6-61653dd07a4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DF910786E18945A9F46D5614169D44" ma:contentTypeVersion="16" ma:contentTypeDescription="Create a new document." ma:contentTypeScope="" ma:versionID="a6b05ea4aef2aac3c02b2daef6cecd59">
  <xsd:schema xmlns:xsd="http://www.w3.org/2001/XMLSchema" xmlns:xs="http://www.w3.org/2001/XMLSchema" xmlns:p="http://schemas.microsoft.com/office/2006/metadata/properties" xmlns:ns2="a23f5772-b42d-4d4e-addf-390ddd4b9bd0" xmlns:ns3="b35d620c-dd0a-4405-b5d6-61653dd07a48" targetNamespace="http://schemas.microsoft.com/office/2006/metadata/properties" ma:root="true" ma:fieldsID="11016a01ce99938dc209ef6e00584e07" ns2:_="" ns3:_="">
    <xsd:import namespace="a23f5772-b42d-4d4e-addf-390ddd4b9bd0"/>
    <xsd:import namespace="b35d620c-dd0a-4405-b5d6-61653dd07a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3f5772-b42d-4d4e-addf-390ddd4b9b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35d620c-dd0a-4405-b5d6-61653dd07a4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113e8ea-ecdb-4cd2-b86b-2639657fa541}" ma:internalName="TaxCatchAll" ma:showField="CatchAllData" ma:web="b35d620c-dd0a-4405-b5d6-61653dd07a4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680352-826C-4BE3-80DC-0213F965A985}">
  <ds:schemaRefs>
    <ds:schemaRef ds:uri="a23f5772-b42d-4d4e-addf-390ddd4b9bd0"/>
    <ds:schemaRef ds:uri="b35d620c-dd0a-4405-b5d6-61653dd07a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BA486B8-5F40-4060-B62C-AB7867EC3A78}">
  <ds:schemaRefs>
    <ds:schemaRef ds:uri="http://schemas.microsoft.com/sharepoint/v3/contenttype/forms"/>
  </ds:schemaRefs>
</ds:datastoreItem>
</file>

<file path=customXml/itemProps3.xml><?xml version="1.0" encoding="utf-8"?>
<ds:datastoreItem xmlns:ds="http://schemas.openxmlformats.org/officeDocument/2006/customXml" ds:itemID="{F93CC230-F40A-4FF4-96B8-3FCF2E581A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3f5772-b42d-4d4e-addf-390ddd4b9bd0"/>
    <ds:schemaRef ds:uri="b35d620c-dd0a-4405-b5d6-61653dd07a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42</TotalTime>
  <Words>2317</Words>
  <Application>Microsoft Office PowerPoint</Application>
  <PresentationFormat>Widescreen</PresentationFormat>
  <Paragraphs>425</Paragraphs>
  <Slides>25</Slides>
  <Notes>23</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4" baseType="lpstr">
      <vt:lpstr>Arial</vt:lpstr>
      <vt:lpstr>Calibri</vt:lpstr>
      <vt:lpstr>Calibri Light</vt:lpstr>
      <vt:lpstr>Cambria Math</vt:lpstr>
      <vt:lpstr>Courier New</vt:lpstr>
      <vt:lpstr>Noto Sans</vt:lpstr>
      <vt:lpstr>Nunito</vt:lpstr>
      <vt:lpstr>Open Sans</vt:lpstr>
      <vt:lpstr>Symbol</vt:lpstr>
      <vt:lpstr>Ubuntu</vt:lpstr>
      <vt:lpstr>Ubuntu Light</vt:lpstr>
      <vt:lpstr>Ubuntu Medium</vt:lpstr>
      <vt:lpstr>Verdana</vt:lpstr>
      <vt:lpstr>Wingdings</vt:lpstr>
      <vt:lpstr>Thème Office</vt:lpstr>
      <vt:lpstr>Capgemini Master 2021</vt:lpstr>
      <vt:lpstr>1_Capgemini Master 2021</vt:lpstr>
      <vt:lpstr>Capgemini BU Germany Nov 2021</vt:lpstr>
      <vt:lpstr>think-cell Slide</vt:lpstr>
      <vt:lpstr>Hi!ckathon 2</vt:lpstr>
      <vt:lpstr>PowerPoint Presentation</vt:lpstr>
      <vt:lpstr>Qu’est-ce que Hi! PARIS?</vt:lpstr>
      <vt:lpstr>Qui sommes-nous ?
</vt:lpstr>
      <vt:lpstr>PowerPoint Presentation</vt:lpstr>
      <vt:lpstr>Présentation du challenge</vt:lpstr>
      <vt:lpstr>PowerPoint Presentation</vt:lpstr>
      <vt:lpstr>Focus sur la donnée</vt:lpstr>
      <vt:lpstr>PowerPoint Presentation</vt:lpstr>
      <vt:lpstr>PowerPoint Presentation</vt:lpstr>
      <vt:lpstr>Métrique d'évaluation</vt:lpstr>
      <vt:lpstr>PowerPoint Presentation</vt:lpstr>
      <vt:lpstr>Notre approche en 3 étapes </vt:lpstr>
      <vt:lpstr>PowerPoint Presentation</vt:lpstr>
      <vt:lpstr>Prix</vt:lpstr>
      <vt:lpstr>Livrables</vt:lpstr>
      <vt:lpstr>PowerPoint Presentation</vt:lpstr>
      <vt:lpstr>Composition des équipes</vt:lpstr>
      <vt:lpstr>PowerPoint Presentation</vt:lpstr>
      <vt:lpstr>Logistique</vt:lpstr>
      <vt:lpstr>PowerPoint Presentation</vt:lpstr>
      <vt:lpstr>Outils</vt:lpstr>
      <vt:lpstr>PowerPoint Presentation</vt:lpstr>
      <vt:lpstr>Votre rôle en tant que coach D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is</dc:creator>
  <cp:lastModifiedBy>YE, Juncen</cp:lastModifiedBy>
  <cp:revision>4</cp:revision>
  <dcterms:created xsi:type="dcterms:W3CDTF">2021-02-04T10:20:50Z</dcterms:created>
  <dcterms:modified xsi:type="dcterms:W3CDTF">2023-09-19T12:3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DF910786E18945A9F46D5614169D44</vt:lpwstr>
  </property>
</Properties>
</file>